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notesSlides/notesSlide1.xml" ContentType="application/vnd.openxmlformats-officedocument.presentationml.notesSlide+xml"/>
  <Override PartName="/ppt/tags/tag482.xml" ContentType="application/vnd.openxmlformats-officedocument.presentationml.tags+xml"/>
  <Override PartName="/ppt/media/image20.jpg" ContentType="image/jpg"/>
  <Override PartName="/ppt/media/image21.jpg" ContentType="image/jpg"/>
  <Override PartName="/ppt/media/image22.jpg" ContentType="image/jpg"/>
  <Override PartName="/ppt/media/image24.jpg" ContentType="image/jpg"/>
  <Override PartName="/ppt/media/image25.jpg" ContentType="image/jpg"/>
  <Override PartName="/ppt/media/image30.jpg" ContentType="image/jpg"/>
  <Override PartName="/ppt/tags/tag483.xml" ContentType="application/vnd.openxmlformats-officedocument.presentationml.tags+xml"/>
  <Override PartName="/ppt/media/image32.jpg" ContentType="image/jpg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media/image35.jpg" ContentType="image/jpg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92" r:id="rId20"/>
    <p:sldMasterId id="2147483796" r:id="rId21"/>
  </p:sldMasterIdLst>
  <p:notesMasterIdLst>
    <p:notesMasterId r:id="rId31"/>
  </p:notesMasterIdLst>
  <p:handoutMasterIdLst>
    <p:handoutMasterId r:id="rId32"/>
  </p:handoutMasterIdLst>
  <p:sldIdLst>
    <p:sldId id="662" r:id="rId22"/>
    <p:sldId id="663" r:id="rId23"/>
    <p:sldId id="664" r:id="rId24"/>
    <p:sldId id="665" r:id="rId25"/>
    <p:sldId id="666" r:id="rId26"/>
    <p:sldId id="667" r:id="rId27"/>
    <p:sldId id="668" r:id="rId28"/>
    <p:sldId id="669" r:id="rId29"/>
    <p:sldId id="670" r:id="rId30"/>
  </p:sldIdLst>
  <p:sldSz cx="11949113" cy="6721475"/>
  <p:notesSz cx="9236075" cy="6954838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731" autoAdjust="0"/>
    <p:restoredTop sz="96699" autoAdjust="0"/>
  </p:normalViewPr>
  <p:slideViewPr>
    <p:cSldViewPr snapToGrid="0" snapToObjects="1">
      <p:cViewPr>
        <p:scale>
          <a:sx n="100" d="100"/>
          <a:sy n="100" d="100"/>
        </p:scale>
        <p:origin x="800" y="896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slide" Target="slides/slide7.xml"/><Relationship Id="rId29" Type="http://schemas.openxmlformats.org/officeDocument/2006/relationships/slide" Target="slides/slide8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37" Type="http://schemas.openxmlformats.org/officeDocument/2006/relationships/theme" Target="theme/theme1.xml"/><Relationship Id="rId38" Type="http://schemas.openxmlformats.org/officeDocument/2006/relationships/tableStyles" Target="tableStyles.xml"/><Relationship Id="rId3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CB733-9399-455B-84A8-72D9EB966C0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728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286104"/>
          </a:xfrm>
        </p:spPr>
        <p:txBody>
          <a:bodyPr lIns="0" tIns="0" rIns="0" bIns="0"/>
          <a:lstStyle>
            <a:lvl1pPr>
              <a:defRPr sz="1859" b="0" i="0">
                <a:solidFill>
                  <a:srgbClr val="1E3FE6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97456" y="1545939"/>
            <a:ext cx="519786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153793" y="1545939"/>
            <a:ext cx="519786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062699" y="6250972"/>
            <a:ext cx="3823716" cy="33607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597456" y="6250972"/>
            <a:ext cx="2748296" cy="33607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/19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0364342" y="5657103"/>
            <a:ext cx="1291470" cy="97198"/>
          </a:xfrm>
          <a:prstGeom prst="rect">
            <a:avLst/>
          </a:prstGeom>
        </p:spPr>
        <p:txBody>
          <a:bodyPr lIns="0" tIns="0" rIns="0" bIns="0"/>
          <a:lstStyle>
            <a:lvl1pPr>
              <a:defRPr sz="562" b="0" i="0">
                <a:solidFill>
                  <a:srgbClr val="3D3C3F"/>
                </a:solidFill>
                <a:latin typeface="Arial"/>
                <a:cs typeface="Arial"/>
              </a:defRPr>
            </a:lvl1pPr>
          </a:lstStyle>
          <a:p>
            <a:pPr marL="10983">
              <a:lnSpc>
                <a:spcPts val="649"/>
              </a:lnSpc>
            </a:pPr>
            <a:r>
              <a:rPr lang="en-US" spc="4" dirty="0" smtClean="0">
                <a:solidFill>
                  <a:srgbClr val="FFFFFF"/>
                </a:solidFill>
              </a:rPr>
              <a:t>McKinsey &amp; </a:t>
            </a:r>
            <a:r>
              <a:rPr lang="en-US" dirty="0" smtClean="0">
                <a:solidFill>
                  <a:srgbClr val="FFFFFF"/>
                </a:solidFill>
              </a:rPr>
              <a:t>Company   </a:t>
            </a:r>
            <a:r>
              <a:rPr lang="en-US" spc="78" dirty="0" smtClean="0">
                <a:solidFill>
                  <a:srgbClr val="FFFFFF"/>
                </a:solidFill>
              </a:rPr>
              <a:t> </a:t>
            </a:r>
            <a:fld id="{81D60167-4931-47E6-BA6A-407CBD079E47}" type="slidenum">
              <a:rPr spc="4" smtClean="0">
                <a:solidFill>
                  <a:srgbClr val="FFFFFF"/>
                </a:solidFill>
              </a:rPr>
              <a:pPr marL="10983">
                <a:lnSpc>
                  <a:spcPts val="649"/>
                </a:lnSpc>
              </a:pPr>
              <a:t>‹#›</a:t>
            </a:fld>
            <a:endParaRPr spc="4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238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286104"/>
          </a:xfrm>
        </p:spPr>
        <p:txBody>
          <a:bodyPr lIns="0" tIns="0" rIns="0" bIns="0"/>
          <a:lstStyle>
            <a:lvl1pPr>
              <a:defRPr sz="1859" b="0" i="0">
                <a:solidFill>
                  <a:srgbClr val="1E3FE6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27" b="0" i="0">
                <a:solidFill>
                  <a:srgbClr val="3D3C3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062699" y="6250972"/>
            <a:ext cx="3823716" cy="33607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97456" y="6250972"/>
            <a:ext cx="2748296" cy="33607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/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364342" y="5657103"/>
            <a:ext cx="1291470" cy="97198"/>
          </a:xfrm>
          <a:prstGeom prst="rect">
            <a:avLst/>
          </a:prstGeom>
        </p:spPr>
        <p:txBody>
          <a:bodyPr lIns="0" tIns="0" rIns="0" bIns="0"/>
          <a:lstStyle>
            <a:lvl1pPr>
              <a:defRPr sz="562" b="0" i="0">
                <a:solidFill>
                  <a:srgbClr val="3D3C3F"/>
                </a:solidFill>
                <a:latin typeface="Arial"/>
                <a:cs typeface="Arial"/>
              </a:defRPr>
            </a:lvl1pPr>
          </a:lstStyle>
          <a:p>
            <a:pPr marL="10983">
              <a:lnSpc>
                <a:spcPts val="649"/>
              </a:lnSpc>
            </a:pPr>
            <a:r>
              <a:rPr lang="en-US" spc="4" dirty="0" smtClean="0">
                <a:solidFill>
                  <a:srgbClr val="FFFFFF"/>
                </a:solidFill>
              </a:rPr>
              <a:t>McKinsey &amp; </a:t>
            </a:r>
            <a:r>
              <a:rPr lang="en-US" dirty="0" smtClean="0">
                <a:solidFill>
                  <a:srgbClr val="FFFFFF"/>
                </a:solidFill>
              </a:rPr>
              <a:t>Company   </a:t>
            </a:r>
            <a:r>
              <a:rPr lang="en-US" spc="78" dirty="0" smtClean="0">
                <a:solidFill>
                  <a:srgbClr val="FFFFFF"/>
                </a:solidFill>
              </a:rPr>
              <a:t> </a:t>
            </a:r>
            <a:fld id="{81D60167-4931-47E6-BA6A-407CBD079E47}" type="slidenum">
              <a:rPr spc="4" smtClean="0">
                <a:solidFill>
                  <a:srgbClr val="FFFFFF"/>
                </a:solidFill>
              </a:rPr>
              <a:pPr marL="10983">
                <a:lnSpc>
                  <a:spcPts val="649"/>
                </a:lnSpc>
              </a:pPr>
              <a:t>‹#›</a:t>
            </a:fld>
            <a:endParaRPr spc="4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6346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3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365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25524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8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7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9.xml"/><Relationship Id="rId3" Type="http://schemas.openxmlformats.org/officeDocument/2006/relationships/slideLayout" Target="../slideLayouts/slideLayout50.xml"/><Relationship Id="rId4" Type="http://schemas.openxmlformats.org/officeDocument/2006/relationships/slideLayout" Target="../slideLayouts/slideLayout51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60.xml"/><Relationship Id="rId2" Type="http://schemas.openxmlformats.org/officeDocument/2006/relationships/slideLayout" Target="../slideLayouts/slideLayout61.xml"/><Relationship Id="rId3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3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7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4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7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9.xml"/><Relationship Id="rId3" Type="http://schemas.openxmlformats.org/officeDocument/2006/relationships/slideLayout" Target="../slideLayouts/slideLayout80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0.xml"/><Relationship Id="rId20" Type="http://schemas.openxmlformats.org/officeDocument/2006/relationships/tags" Target="../tags/tag101.xml"/><Relationship Id="rId21" Type="http://schemas.openxmlformats.org/officeDocument/2006/relationships/tags" Target="../tags/tag102.xml"/><Relationship Id="rId22" Type="http://schemas.openxmlformats.org/officeDocument/2006/relationships/tags" Target="../tags/tag103.xml"/><Relationship Id="rId23" Type="http://schemas.openxmlformats.org/officeDocument/2006/relationships/tags" Target="../tags/tag104.xml"/><Relationship Id="rId24" Type="http://schemas.openxmlformats.org/officeDocument/2006/relationships/tags" Target="../tags/tag105.xml"/><Relationship Id="rId25" Type="http://schemas.openxmlformats.org/officeDocument/2006/relationships/oleObject" Target="../embeddings/oleObject20.bin"/><Relationship Id="rId26" Type="http://schemas.openxmlformats.org/officeDocument/2006/relationships/image" Target="../media/image1.emf"/><Relationship Id="rId10" Type="http://schemas.openxmlformats.org/officeDocument/2006/relationships/tags" Target="../tags/tag91.xml"/><Relationship Id="rId11" Type="http://schemas.openxmlformats.org/officeDocument/2006/relationships/tags" Target="../tags/tag92.xml"/><Relationship Id="rId12" Type="http://schemas.openxmlformats.org/officeDocument/2006/relationships/tags" Target="../tags/tag93.xml"/><Relationship Id="rId13" Type="http://schemas.openxmlformats.org/officeDocument/2006/relationships/tags" Target="../tags/tag94.xml"/><Relationship Id="rId14" Type="http://schemas.openxmlformats.org/officeDocument/2006/relationships/tags" Target="../tags/tag95.xml"/><Relationship Id="rId15" Type="http://schemas.openxmlformats.org/officeDocument/2006/relationships/tags" Target="../tags/tag96.xml"/><Relationship Id="rId16" Type="http://schemas.openxmlformats.org/officeDocument/2006/relationships/tags" Target="../tags/tag97.xml"/><Relationship Id="rId17" Type="http://schemas.openxmlformats.org/officeDocument/2006/relationships/tags" Target="../tags/tag98.xml"/><Relationship Id="rId18" Type="http://schemas.openxmlformats.org/officeDocument/2006/relationships/tags" Target="../tags/tag99.xml"/><Relationship Id="rId19" Type="http://schemas.openxmlformats.org/officeDocument/2006/relationships/tags" Target="../tags/tag100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7" Type="http://schemas.openxmlformats.org/officeDocument/2006/relationships/vmlDrawing" Target="../drawings/vmlDrawing20.vml"/><Relationship Id="rId8" Type="http://schemas.openxmlformats.org/officeDocument/2006/relationships/tags" Target="../tags/tag89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4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1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6105745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68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2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4978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72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  <p:sldLayoutId id="2147483790" r:id="rId4"/>
    <p:sldLayoutId id="2147483791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0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99.bin"/><Relationship Id="rId6" Type="http://schemas.openxmlformats.org/officeDocument/2006/relationships/image" Target="../media/image15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20.jpg"/><Relationship Id="rId20" Type="http://schemas.openxmlformats.org/officeDocument/2006/relationships/image" Target="../media/image31.png"/><Relationship Id="rId10" Type="http://schemas.openxmlformats.org/officeDocument/2006/relationships/image" Target="../media/image21.jpg"/><Relationship Id="rId11" Type="http://schemas.openxmlformats.org/officeDocument/2006/relationships/image" Target="../media/image22.jpg"/><Relationship Id="rId12" Type="http://schemas.openxmlformats.org/officeDocument/2006/relationships/image" Target="../media/image23.png"/><Relationship Id="rId13" Type="http://schemas.openxmlformats.org/officeDocument/2006/relationships/image" Target="../media/image24.jpg"/><Relationship Id="rId14" Type="http://schemas.openxmlformats.org/officeDocument/2006/relationships/image" Target="../media/image25.jpg"/><Relationship Id="rId15" Type="http://schemas.openxmlformats.org/officeDocument/2006/relationships/image" Target="../media/image26.png"/><Relationship Id="rId16" Type="http://schemas.openxmlformats.org/officeDocument/2006/relationships/image" Target="../media/image27.png"/><Relationship Id="rId17" Type="http://schemas.openxmlformats.org/officeDocument/2006/relationships/image" Target="../media/image28.png"/><Relationship Id="rId18" Type="http://schemas.openxmlformats.org/officeDocument/2006/relationships/image" Target="../media/image29.png"/><Relationship Id="rId19" Type="http://schemas.openxmlformats.org/officeDocument/2006/relationships/image" Target="../media/image30.jpg"/><Relationship Id="rId1" Type="http://schemas.openxmlformats.org/officeDocument/2006/relationships/vmlDrawing" Target="../drawings/vmlDrawing99.vml"/><Relationship Id="rId2" Type="http://schemas.openxmlformats.org/officeDocument/2006/relationships/tags" Target="../tags/tag482.xml"/><Relationship Id="rId3" Type="http://schemas.openxmlformats.org/officeDocument/2006/relationships/slideLayout" Target="../slideLayouts/slideLayout76.xml"/><Relationship Id="rId4" Type="http://schemas.openxmlformats.org/officeDocument/2006/relationships/oleObject" Target="../embeddings/oleObject100.bin"/><Relationship Id="rId5" Type="http://schemas.openxmlformats.org/officeDocument/2006/relationships/image" Target="../media/image15.emf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8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4" Type="http://schemas.openxmlformats.org/officeDocument/2006/relationships/oleObject" Target="../embeddings/oleObject101.bin"/><Relationship Id="rId5" Type="http://schemas.openxmlformats.org/officeDocument/2006/relationships/image" Target="../media/image15.emf"/><Relationship Id="rId6" Type="http://schemas.openxmlformats.org/officeDocument/2006/relationships/image" Target="../media/image32.jpg"/><Relationship Id="rId7" Type="http://schemas.openxmlformats.org/officeDocument/2006/relationships/image" Target="../media/image33.png"/><Relationship Id="rId8" Type="http://schemas.openxmlformats.org/officeDocument/2006/relationships/image" Target="../media/image34.png"/><Relationship Id="rId1" Type="http://schemas.openxmlformats.org/officeDocument/2006/relationships/vmlDrawing" Target="../drawings/vmlDrawing100.vml"/><Relationship Id="rId2" Type="http://schemas.openxmlformats.org/officeDocument/2006/relationships/tags" Target="../tags/tag48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4" Type="http://schemas.openxmlformats.org/officeDocument/2006/relationships/oleObject" Target="../embeddings/oleObject102.bin"/><Relationship Id="rId5" Type="http://schemas.openxmlformats.org/officeDocument/2006/relationships/image" Target="../media/image15.emf"/><Relationship Id="rId1" Type="http://schemas.openxmlformats.org/officeDocument/2006/relationships/vmlDrawing" Target="../drawings/vmlDrawing101.vml"/><Relationship Id="rId2" Type="http://schemas.openxmlformats.org/officeDocument/2006/relationships/tags" Target="../tags/tag48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4" Type="http://schemas.openxmlformats.org/officeDocument/2006/relationships/oleObject" Target="../embeddings/oleObject103.bin"/><Relationship Id="rId5" Type="http://schemas.openxmlformats.org/officeDocument/2006/relationships/image" Target="../media/image15.emf"/><Relationship Id="rId1" Type="http://schemas.openxmlformats.org/officeDocument/2006/relationships/vmlDrawing" Target="../drawings/vmlDrawing102.vml"/><Relationship Id="rId2" Type="http://schemas.openxmlformats.org/officeDocument/2006/relationships/tags" Target="../tags/tag48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87.xml"/><Relationship Id="rId4" Type="http://schemas.openxmlformats.org/officeDocument/2006/relationships/slideLayout" Target="../slideLayouts/slideLayout76.xml"/><Relationship Id="rId5" Type="http://schemas.openxmlformats.org/officeDocument/2006/relationships/oleObject" Target="../embeddings/oleObject104.bin"/><Relationship Id="rId6" Type="http://schemas.openxmlformats.org/officeDocument/2006/relationships/image" Target="../media/image15.emf"/><Relationship Id="rId1" Type="http://schemas.openxmlformats.org/officeDocument/2006/relationships/vmlDrawing" Target="../drawings/vmlDrawing103.vml"/><Relationship Id="rId2" Type="http://schemas.openxmlformats.org/officeDocument/2006/relationships/tags" Target="../tags/tag48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89.xml"/><Relationship Id="rId4" Type="http://schemas.openxmlformats.org/officeDocument/2006/relationships/slideLayout" Target="../slideLayouts/slideLayout76.xml"/><Relationship Id="rId5" Type="http://schemas.openxmlformats.org/officeDocument/2006/relationships/oleObject" Target="../embeddings/oleObject105.bin"/><Relationship Id="rId6" Type="http://schemas.openxmlformats.org/officeDocument/2006/relationships/image" Target="../media/image15.emf"/><Relationship Id="rId1" Type="http://schemas.openxmlformats.org/officeDocument/2006/relationships/vmlDrawing" Target="../drawings/vmlDrawing104.vml"/><Relationship Id="rId2" Type="http://schemas.openxmlformats.org/officeDocument/2006/relationships/tags" Target="../tags/tag48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91.xml"/><Relationship Id="rId4" Type="http://schemas.openxmlformats.org/officeDocument/2006/relationships/slideLayout" Target="../slideLayouts/slideLayout76.xml"/><Relationship Id="rId5" Type="http://schemas.openxmlformats.org/officeDocument/2006/relationships/oleObject" Target="../embeddings/oleObject106.bin"/><Relationship Id="rId6" Type="http://schemas.openxmlformats.org/officeDocument/2006/relationships/image" Target="../media/image15.emf"/><Relationship Id="rId7" Type="http://schemas.openxmlformats.org/officeDocument/2006/relationships/image" Target="../media/image35.jpg"/><Relationship Id="rId1" Type="http://schemas.openxmlformats.org/officeDocument/2006/relationships/vmlDrawing" Target="../drawings/vmlDrawing105.vml"/><Relationship Id="rId2" Type="http://schemas.openxmlformats.org/officeDocument/2006/relationships/tags" Target="../tags/tag49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93.xml"/><Relationship Id="rId4" Type="http://schemas.openxmlformats.org/officeDocument/2006/relationships/slideLayout" Target="../slideLayouts/slideLayout76.xml"/><Relationship Id="rId5" Type="http://schemas.openxmlformats.org/officeDocument/2006/relationships/oleObject" Target="../embeddings/oleObject107.bin"/><Relationship Id="rId6" Type="http://schemas.openxmlformats.org/officeDocument/2006/relationships/image" Target="../media/image15.emf"/><Relationship Id="rId1" Type="http://schemas.openxmlformats.org/officeDocument/2006/relationships/vmlDrawing" Target="../drawings/vmlDrawing106.vml"/><Relationship Id="rId2" Type="http://schemas.openxmlformats.org/officeDocument/2006/relationships/tags" Target="../tags/tag4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1" name="Object 1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740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>
            <a:spLocks/>
          </p:cNvSpPr>
          <p:nvPr/>
        </p:nvSpPr>
        <p:spPr>
          <a:xfrm>
            <a:off x="1886" y="1137638"/>
            <a:ext cx="11945342" cy="5029200"/>
          </a:xfrm>
          <a:prstGeom prst="rect">
            <a:avLst/>
          </a:prstGeom>
          <a:blipFill>
            <a:blip r:embed="rId7" cstate="print"/>
            <a:srcRect/>
            <a:stretch>
              <a:fillRect t="1" b="-33623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384" dirty="0"/>
          </a:p>
        </p:txBody>
      </p:sp>
      <p:sp>
        <p:nvSpPr>
          <p:cNvPr id="150" name="object 3"/>
          <p:cNvSpPr>
            <a:spLocks/>
          </p:cNvSpPr>
          <p:nvPr/>
        </p:nvSpPr>
        <p:spPr>
          <a:xfrm>
            <a:off x="0" y="1133927"/>
            <a:ext cx="11945342" cy="5032911"/>
          </a:xfrm>
          <a:prstGeom prst="rect">
            <a:avLst/>
          </a:prstGeom>
          <a:solidFill>
            <a:schemeClr val="tx2">
              <a:alpha val="47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sz="1384" dirty="0"/>
          </a:p>
        </p:txBody>
      </p:sp>
      <p:sp>
        <p:nvSpPr>
          <p:cNvPr id="142" name="object 142"/>
          <p:cNvSpPr txBox="1">
            <a:spLocks noGrp="1"/>
          </p:cNvSpPr>
          <p:nvPr>
            <p:ph type="title"/>
          </p:nvPr>
        </p:nvSpPr>
        <p:spPr bwMode="gray">
          <a:xfrm>
            <a:off x="158760" y="306185"/>
            <a:ext cx="10743978" cy="75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434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4393">
              <a:lnSpc>
                <a:spcPct val="101400"/>
              </a:lnSpc>
              <a:spcBef>
                <a:spcPts val="82"/>
              </a:spcBef>
            </a:pPr>
            <a:r>
              <a:rPr spc="9" dirty="0">
                <a:latin typeface="+mn-lt"/>
              </a:rPr>
              <a:t>Case </a:t>
            </a:r>
            <a:r>
              <a:rPr spc="4" dirty="0">
                <a:latin typeface="+mn-lt"/>
              </a:rPr>
              <a:t>example: </a:t>
            </a:r>
            <a:r>
              <a:rPr spc="9" dirty="0">
                <a:latin typeface="+mn-lt"/>
              </a:rPr>
              <a:t>Using </a:t>
            </a:r>
            <a:r>
              <a:rPr spc="4" dirty="0">
                <a:latin typeface="+mn-lt"/>
              </a:rPr>
              <a:t>digital </a:t>
            </a:r>
            <a:r>
              <a:rPr spc="9" dirty="0">
                <a:latin typeface="+mn-lt"/>
              </a:rPr>
              <a:t>and omnichannel to </a:t>
            </a:r>
            <a:r>
              <a:rPr spc="4" dirty="0">
                <a:latin typeface="+mn-lt"/>
              </a:rPr>
              <a:t>drive </a:t>
            </a:r>
            <a:r>
              <a:rPr spc="9" dirty="0">
                <a:latin typeface="+mn-lt"/>
              </a:rPr>
              <a:t>3x growth </a:t>
            </a:r>
            <a:r>
              <a:rPr spc="4" dirty="0">
                <a:latin typeface="+mn-lt"/>
              </a:rPr>
              <a:t>in </a:t>
            </a:r>
            <a:r>
              <a:rPr spc="13" dirty="0">
                <a:latin typeface="+mn-lt"/>
              </a:rPr>
              <a:t>SMB </a:t>
            </a:r>
            <a:r>
              <a:rPr spc="4" dirty="0">
                <a:latin typeface="+mn-lt"/>
              </a:rPr>
              <a:t>for  </a:t>
            </a:r>
            <a:r>
              <a:rPr spc="9" dirty="0">
                <a:latin typeface="+mn-lt"/>
              </a:rPr>
              <a:t>high </a:t>
            </a:r>
            <a:r>
              <a:rPr spc="4" dirty="0">
                <a:latin typeface="+mn-lt"/>
              </a:rPr>
              <a:t>performing, fast </a:t>
            </a:r>
            <a:r>
              <a:rPr spc="9" dirty="0">
                <a:latin typeface="+mn-lt"/>
              </a:rPr>
              <a:t>growth SaaS </a:t>
            </a:r>
            <a:r>
              <a:rPr spc="4" dirty="0">
                <a:latin typeface="+mn-lt"/>
              </a:rPr>
              <a:t>player</a:t>
            </a:r>
          </a:p>
        </p:txBody>
      </p:sp>
      <p:grpSp>
        <p:nvGrpSpPr>
          <p:cNvPr id="158" name="Group 157"/>
          <p:cNvGrpSpPr/>
          <p:nvPr/>
        </p:nvGrpSpPr>
        <p:grpSpPr>
          <a:xfrm>
            <a:off x="256653" y="1780681"/>
            <a:ext cx="11296103" cy="3933023"/>
            <a:chOff x="301172" y="1742728"/>
            <a:chExt cx="11296103" cy="3933023"/>
          </a:xfrm>
        </p:grpSpPr>
        <p:sp>
          <p:nvSpPr>
            <p:cNvPr id="152" name="TextBox 151"/>
            <p:cNvSpPr txBox="1"/>
            <p:nvPr/>
          </p:nvSpPr>
          <p:spPr>
            <a:xfrm>
              <a:off x="301172" y="1742728"/>
              <a:ext cx="5469763" cy="3569237"/>
            </a:xfrm>
            <a:prstGeom prst="rect">
              <a:avLst/>
            </a:prstGeom>
          </p:spPr>
          <p:txBody>
            <a:bodyPr vert="horz" wrap="square" lIns="0" tIns="14278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b="1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Dramatically accelerate (3x) growth </a:t>
              </a:r>
              <a:r>
                <a:rPr lang="en-US" sz="2400" b="1" dirty="0" smtClean="0">
                  <a:solidFill>
                    <a:schemeClr val="bg2"/>
                  </a:solidFill>
                </a:rPr>
                <a:t>in</a:t>
              </a:r>
              <a:r>
                <a:rPr lang="en-US" sz="2400" b="1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 SMB</a:t>
              </a:r>
              <a:endParaRPr lang="en-US" sz="2400" dirty="0" smtClean="0">
                <a:solidFill>
                  <a:schemeClr val="bg2"/>
                </a:solidFill>
                <a:cs typeface="Arial" panose="020B0604020202020204" pitchFamily="34" charset="0"/>
              </a:endParaRPr>
            </a:p>
            <a:p>
              <a:pPr lvl="1"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How many leads are </a:t>
              </a:r>
              <a:r>
                <a:rPr lang="en-US" sz="2400" dirty="0" smtClean="0">
                  <a:solidFill>
                    <a:schemeClr val="bg2"/>
                  </a:solidFill>
                </a:rPr>
                <a:t>needed </a:t>
              </a: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to meet deal  participation objectives?</a:t>
              </a:r>
            </a:p>
            <a:p>
              <a:pPr lvl="1"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How to optimize sales post</a:t>
              </a:r>
              <a:r>
                <a:rPr lang="en-US" sz="2400" dirty="0" smtClean="0">
                  <a:solidFill>
                    <a:schemeClr val="bg2"/>
                  </a:solidFill>
                </a:rPr>
                <a:t> </a:t>
              </a: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lead-gen?</a:t>
              </a:r>
            </a:p>
            <a:p>
              <a:pPr lvl="1"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What marketing activities </a:t>
              </a:r>
              <a:r>
                <a:rPr lang="en-US" sz="2400" dirty="0" smtClean="0">
                  <a:solidFill>
                    <a:schemeClr val="bg2"/>
                  </a:solidFill>
                </a:rPr>
                <a:t>and </a:t>
              </a: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sales  channels will be most effective for winning  in SMB, and in particular, what role can  digital play?</a:t>
              </a:r>
              <a:endParaRPr lang="en-US" sz="2400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4" name="TextBox 153"/>
            <p:cNvSpPr txBox="1">
              <a:spLocks/>
            </p:cNvSpPr>
            <p:nvPr/>
          </p:nvSpPr>
          <p:spPr>
            <a:xfrm>
              <a:off x="6481242" y="1742728"/>
              <a:ext cx="5116033" cy="3933023"/>
            </a:xfrm>
            <a:prstGeom prst="rect">
              <a:avLst/>
            </a:prstGeom>
          </p:spPr>
          <p:txBody>
            <a:bodyPr vert="horz" wrap="square" lIns="0" tIns="8786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b="1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Design the optimal marketing, sales </a:t>
              </a:r>
              <a:r>
                <a:rPr lang="en-US" sz="2400" b="1" dirty="0" smtClean="0">
                  <a:solidFill>
                    <a:schemeClr val="bg2"/>
                  </a:solidFill>
                </a:rPr>
                <a:t>&amp;  </a:t>
              </a:r>
              <a:r>
                <a:rPr lang="en-US" sz="2400" b="1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service team to serve SMB</a:t>
              </a:r>
              <a:endParaRPr lang="en-US" sz="2400" dirty="0" smtClean="0">
                <a:solidFill>
                  <a:schemeClr val="bg2"/>
                </a:solidFill>
                <a:cs typeface="Arial" panose="020B0604020202020204" pitchFamily="34" charset="0"/>
              </a:endParaRPr>
            </a:p>
            <a:p>
              <a:pPr lvl="1"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What stages of the CDJ/sales funnel </a:t>
              </a:r>
              <a:r>
                <a:rPr lang="en-US" sz="2400" dirty="0" smtClean="0">
                  <a:solidFill>
                    <a:schemeClr val="bg2"/>
                  </a:solidFill>
                </a:rPr>
                <a:t>can  be </a:t>
              </a: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completed via digital?</a:t>
              </a:r>
            </a:p>
            <a:p>
              <a:pPr lvl="1"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What sales rep roles are required </a:t>
              </a:r>
              <a:r>
                <a:rPr lang="en-US" sz="2400" dirty="0" smtClean="0">
                  <a:solidFill>
                    <a:schemeClr val="bg2"/>
                  </a:solidFill>
                </a:rPr>
                <a:t>in  which </a:t>
              </a: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channels?</a:t>
              </a:r>
            </a:p>
            <a:p>
              <a:pPr lvl="1">
                <a:spcBef>
                  <a:spcPts val="600"/>
                </a:spcBef>
                <a:buClr>
                  <a:schemeClr val="bg2"/>
                </a:buClr>
              </a:pP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What are the operational implications  </a:t>
              </a:r>
              <a:r>
                <a:rPr lang="en-US" sz="2400" dirty="0" smtClean="0">
                  <a:solidFill>
                    <a:schemeClr val="bg2"/>
                  </a:solidFill>
                </a:rPr>
                <a:t>(scalability) </a:t>
              </a:r>
              <a:r>
                <a:rPr lang="en-US" sz="2400" dirty="0" smtClean="0">
                  <a:solidFill>
                    <a:schemeClr val="bg2"/>
                  </a:solidFill>
                  <a:cs typeface="Arial" panose="020B0604020202020204" pitchFamily="34" charset="0"/>
                </a:rPr>
                <a:t>of dramatic growth?</a:t>
              </a:r>
              <a:endParaRPr lang="en-US" sz="2400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157" name="Straight Connector 156"/>
            <p:cNvCxnSpPr>
              <a:cxnSpLocks/>
            </p:cNvCxnSpPr>
            <p:nvPr/>
          </p:nvCxnSpPr>
          <p:spPr>
            <a:xfrm>
              <a:off x="6126089" y="1742728"/>
              <a:ext cx="0" cy="3933023"/>
            </a:xfrm>
            <a:prstGeom prst="line">
              <a:avLst/>
            </a:prstGeom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0" y="0"/>
            <a:ext cx="11945342" cy="246221"/>
            <a:chOff x="0" y="0"/>
            <a:chExt cx="11945342" cy="24622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xmlns:lc="http://schemas.openxmlformats.org/drawingml/2006/lockedCanvas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94202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BAS008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xmlns:lc="http://schemas.openxmlformats.org/drawingml/2006/lockedCanvas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0"/>
              <a:ext cx="255270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 smtClean="0">
                  <a:solidFill>
                    <a:schemeClr val="bg1"/>
                  </a:solidFill>
                </a:rPr>
                <a:t>BASIC MATERIALS (</a:t>
              </a:r>
              <a:r>
                <a:rPr lang="pl-PL" sz="1000" dirty="0">
                  <a:solidFill>
                    <a:schemeClr val="bg1"/>
                  </a:solidFill>
                </a:rPr>
                <a:t>GEM</a:t>
              </a:r>
              <a:r>
                <a:rPr lang="pl-PL" sz="1000" dirty="0" smtClean="0">
                  <a:solidFill>
                    <a:schemeClr val="bg1"/>
                  </a:solidFill>
                </a:rPr>
                <a:t>)</a:t>
              </a:r>
              <a:r>
                <a:rPr lang="en-US" sz="1000" dirty="0" smtClean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</a:t>
              </a:r>
              <a:r>
                <a:rPr lang="pl-PL" sz="1000" dirty="0" smtClean="0">
                  <a:solidFill>
                    <a:schemeClr val="bg1"/>
                  </a:solidFill>
                </a:rPr>
                <a:t>GLOBAL</a:t>
              </a:r>
              <a:endParaRPr lang="pl-PL" sz="10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9262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" name="Object 27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530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427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12"/>
              </a:spcBef>
            </a:pPr>
            <a:r>
              <a:rPr spc="13" dirty="0">
                <a:latin typeface="+mn-lt"/>
              </a:rPr>
              <a:t>We </a:t>
            </a:r>
            <a:r>
              <a:rPr spc="9" dirty="0">
                <a:latin typeface="+mn-lt"/>
              </a:rPr>
              <a:t>used </a:t>
            </a:r>
            <a:r>
              <a:rPr spc="4" dirty="0">
                <a:latin typeface="+mn-lt"/>
              </a:rPr>
              <a:t>multiple sources of insight, including</a:t>
            </a:r>
            <a:r>
              <a:rPr spc="78" dirty="0">
                <a:latin typeface="+mn-lt"/>
              </a:rPr>
              <a:t> </a:t>
            </a:r>
            <a:r>
              <a:rPr spc="4" dirty="0">
                <a:latin typeface="+mn-lt"/>
              </a:rPr>
              <a:t>OS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93021" y="1189632"/>
            <a:ext cx="1368710" cy="211805"/>
          </a:xfrm>
          <a:prstGeom prst="rect">
            <a:avLst/>
          </a:prstGeom>
        </p:spPr>
        <p:txBody>
          <a:bodyPr vert="horz" wrap="square" lIns="0" tIns="12081" rIns="0" bIns="0" rtlCol="0">
            <a:spAutoFit/>
          </a:bodyPr>
          <a:lstStyle/>
          <a:p>
            <a:pPr marL="10983">
              <a:spcBef>
                <a:spcPts val="95"/>
              </a:spcBef>
            </a:pPr>
            <a:r>
              <a:rPr lang="en-US" sz="1297" b="1" dirty="0">
                <a:solidFill>
                  <a:schemeClr val="accent4"/>
                </a:solidFill>
                <a:latin typeface="+mn-lt"/>
                <a:cs typeface="Arial"/>
              </a:rPr>
              <a:t>Client</a:t>
            </a:r>
            <a:r>
              <a:rPr sz="1297" b="1" spc="-56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data</a:t>
            </a:r>
            <a:endParaRPr sz="1297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763908" y="3505606"/>
            <a:ext cx="1405067" cy="211805"/>
          </a:xfrm>
          <a:prstGeom prst="rect">
            <a:avLst/>
          </a:prstGeom>
        </p:spPr>
        <p:txBody>
          <a:bodyPr vert="horz" wrap="square" lIns="0" tIns="12081" rIns="0" bIns="0" rtlCol="0">
            <a:spAutoFit/>
          </a:bodyPr>
          <a:lstStyle/>
          <a:p>
            <a:pPr marL="10983">
              <a:spcBef>
                <a:spcPts val="95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Benchmarks</a:t>
            </a:r>
            <a:endParaRPr sz="1297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3607375" y="1544724"/>
            <a:ext cx="3859959" cy="3859959"/>
          </a:xfrm>
          <a:custGeom>
            <a:avLst/>
            <a:gdLst/>
            <a:ahLst/>
            <a:cxnLst/>
            <a:rect l="l" t="t" r="r" b="b"/>
            <a:pathLst>
              <a:path w="3235959" h="3235960">
                <a:moveTo>
                  <a:pt x="3235451" y="1618487"/>
                </a:moveTo>
                <a:lnTo>
                  <a:pt x="3234737" y="1569864"/>
                </a:lnTo>
                <a:lnTo>
                  <a:pt x="3232606" y="1521600"/>
                </a:lnTo>
                <a:lnTo>
                  <a:pt x="3229080" y="1473714"/>
                </a:lnTo>
                <a:lnTo>
                  <a:pt x="3224178" y="1426226"/>
                </a:lnTo>
                <a:lnTo>
                  <a:pt x="3217919" y="1379156"/>
                </a:lnTo>
                <a:lnTo>
                  <a:pt x="3210325" y="1332525"/>
                </a:lnTo>
                <a:lnTo>
                  <a:pt x="3201414" y="1286353"/>
                </a:lnTo>
                <a:lnTo>
                  <a:pt x="3191207" y="1240658"/>
                </a:lnTo>
                <a:lnTo>
                  <a:pt x="3179724" y="1195462"/>
                </a:lnTo>
                <a:lnTo>
                  <a:pt x="3166985" y="1150783"/>
                </a:lnTo>
                <a:lnTo>
                  <a:pt x="3153009" y="1106643"/>
                </a:lnTo>
                <a:lnTo>
                  <a:pt x="3137817" y="1063061"/>
                </a:lnTo>
                <a:lnTo>
                  <a:pt x="3121429" y="1020056"/>
                </a:lnTo>
                <a:lnTo>
                  <a:pt x="3103864" y="977650"/>
                </a:lnTo>
                <a:lnTo>
                  <a:pt x="3085142" y="935861"/>
                </a:lnTo>
                <a:lnTo>
                  <a:pt x="3065284" y="894711"/>
                </a:lnTo>
                <a:lnTo>
                  <a:pt x="3044309" y="854218"/>
                </a:lnTo>
                <a:lnTo>
                  <a:pt x="3022238" y="814403"/>
                </a:lnTo>
                <a:lnTo>
                  <a:pt x="2999090" y="775285"/>
                </a:lnTo>
                <a:lnTo>
                  <a:pt x="2974885" y="736885"/>
                </a:lnTo>
                <a:lnTo>
                  <a:pt x="2949644" y="699223"/>
                </a:lnTo>
                <a:lnTo>
                  <a:pt x="2923385" y="662318"/>
                </a:lnTo>
                <a:lnTo>
                  <a:pt x="2896130" y="626190"/>
                </a:lnTo>
                <a:lnTo>
                  <a:pt x="2867897" y="590860"/>
                </a:lnTo>
                <a:lnTo>
                  <a:pt x="2838708" y="556348"/>
                </a:lnTo>
                <a:lnTo>
                  <a:pt x="2808581" y="522672"/>
                </a:lnTo>
                <a:lnTo>
                  <a:pt x="2777537" y="489854"/>
                </a:lnTo>
                <a:lnTo>
                  <a:pt x="2745597" y="457913"/>
                </a:lnTo>
                <a:lnTo>
                  <a:pt x="2712779" y="426870"/>
                </a:lnTo>
                <a:lnTo>
                  <a:pt x="2679103" y="396743"/>
                </a:lnTo>
                <a:lnTo>
                  <a:pt x="2644591" y="367554"/>
                </a:lnTo>
                <a:lnTo>
                  <a:pt x="2609261" y="339321"/>
                </a:lnTo>
                <a:lnTo>
                  <a:pt x="2573133" y="312066"/>
                </a:lnTo>
                <a:lnTo>
                  <a:pt x="2536228" y="285807"/>
                </a:lnTo>
                <a:lnTo>
                  <a:pt x="2498566" y="260566"/>
                </a:lnTo>
                <a:lnTo>
                  <a:pt x="2460166" y="236361"/>
                </a:lnTo>
                <a:lnTo>
                  <a:pt x="2421048" y="213213"/>
                </a:lnTo>
                <a:lnTo>
                  <a:pt x="2381233" y="191141"/>
                </a:lnTo>
                <a:lnTo>
                  <a:pt x="2340740" y="170167"/>
                </a:lnTo>
                <a:lnTo>
                  <a:pt x="2299589" y="150309"/>
                </a:lnTo>
                <a:lnTo>
                  <a:pt x="2257801" y="131587"/>
                </a:lnTo>
                <a:lnTo>
                  <a:pt x="2215395" y="114022"/>
                </a:lnTo>
                <a:lnTo>
                  <a:pt x="2172390" y="97634"/>
                </a:lnTo>
                <a:lnTo>
                  <a:pt x="2128808" y="82442"/>
                </a:lnTo>
                <a:lnTo>
                  <a:pt x="2084668" y="68466"/>
                </a:lnTo>
                <a:lnTo>
                  <a:pt x="2039989" y="55727"/>
                </a:lnTo>
                <a:lnTo>
                  <a:pt x="1994793" y="44244"/>
                </a:lnTo>
                <a:lnTo>
                  <a:pt x="1949098" y="34037"/>
                </a:lnTo>
                <a:lnTo>
                  <a:pt x="1902926" y="25126"/>
                </a:lnTo>
                <a:lnTo>
                  <a:pt x="1856294" y="17532"/>
                </a:lnTo>
                <a:lnTo>
                  <a:pt x="1809225" y="11273"/>
                </a:lnTo>
                <a:lnTo>
                  <a:pt x="1761737" y="6371"/>
                </a:lnTo>
                <a:lnTo>
                  <a:pt x="1713851" y="2845"/>
                </a:lnTo>
                <a:lnTo>
                  <a:pt x="1665587" y="714"/>
                </a:lnTo>
                <a:lnTo>
                  <a:pt x="1616963" y="0"/>
                </a:lnTo>
                <a:lnTo>
                  <a:pt x="1568422" y="714"/>
                </a:lnTo>
                <a:lnTo>
                  <a:pt x="1520236" y="2845"/>
                </a:lnTo>
                <a:lnTo>
                  <a:pt x="1472426" y="6371"/>
                </a:lnTo>
                <a:lnTo>
                  <a:pt x="1425011" y="11273"/>
                </a:lnTo>
                <a:lnTo>
                  <a:pt x="1378011" y="17532"/>
                </a:lnTo>
                <a:lnTo>
                  <a:pt x="1331448" y="25126"/>
                </a:lnTo>
                <a:lnTo>
                  <a:pt x="1285340" y="34037"/>
                </a:lnTo>
                <a:lnTo>
                  <a:pt x="1239707" y="44244"/>
                </a:lnTo>
                <a:lnTo>
                  <a:pt x="1194570" y="55727"/>
                </a:lnTo>
                <a:lnTo>
                  <a:pt x="1149949" y="68466"/>
                </a:lnTo>
                <a:lnTo>
                  <a:pt x="1105863" y="82442"/>
                </a:lnTo>
                <a:lnTo>
                  <a:pt x="1062332" y="97634"/>
                </a:lnTo>
                <a:lnTo>
                  <a:pt x="1019378" y="114022"/>
                </a:lnTo>
                <a:lnTo>
                  <a:pt x="977019" y="131587"/>
                </a:lnTo>
                <a:lnTo>
                  <a:pt x="935275" y="150309"/>
                </a:lnTo>
                <a:lnTo>
                  <a:pt x="894167" y="170167"/>
                </a:lnTo>
                <a:lnTo>
                  <a:pt x="853715" y="191141"/>
                </a:lnTo>
                <a:lnTo>
                  <a:pt x="813939" y="213213"/>
                </a:lnTo>
                <a:lnTo>
                  <a:pt x="774858" y="236361"/>
                </a:lnTo>
                <a:lnTo>
                  <a:pt x="736492" y="260566"/>
                </a:lnTo>
                <a:lnTo>
                  <a:pt x="698863" y="285807"/>
                </a:lnTo>
                <a:lnTo>
                  <a:pt x="661989" y="312066"/>
                </a:lnTo>
                <a:lnTo>
                  <a:pt x="625890" y="339321"/>
                </a:lnTo>
                <a:lnTo>
                  <a:pt x="590587" y="367554"/>
                </a:lnTo>
                <a:lnTo>
                  <a:pt x="556100" y="396743"/>
                </a:lnTo>
                <a:lnTo>
                  <a:pt x="522449" y="426870"/>
                </a:lnTo>
                <a:lnTo>
                  <a:pt x="489653" y="457913"/>
                </a:lnTo>
                <a:lnTo>
                  <a:pt x="457733" y="489854"/>
                </a:lnTo>
                <a:lnTo>
                  <a:pt x="426709" y="522672"/>
                </a:lnTo>
                <a:lnTo>
                  <a:pt x="396600" y="556348"/>
                </a:lnTo>
                <a:lnTo>
                  <a:pt x="367427" y="590860"/>
                </a:lnTo>
                <a:lnTo>
                  <a:pt x="339210" y="626190"/>
                </a:lnTo>
                <a:lnTo>
                  <a:pt x="311968" y="662318"/>
                </a:lnTo>
                <a:lnTo>
                  <a:pt x="285723" y="699223"/>
                </a:lnTo>
                <a:lnTo>
                  <a:pt x="260492" y="736885"/>
                </a:lnTo>
                <a:lnTo>
                  <a:pt x="236298" y="775285"/>
                </a:lnTo>
                <a:lnTo>
                  <a:pt x="213159" y="814403"/>
                </a:lnTo>
                <a:lnTo>
                  <a:pt x="191096" y="854218"/>
                </a:lnTo>
                <a:lnTo>
                  <a:pt x="170129" y="894711"/>
                </a:lnTo>
                <a:lnTo>
                  <a:pt x="150278" y="935861"/>
                </a:lnTo>
                <a:lnTo>
                  <a:pt x="131562" y="977650"/>
                </a:lnTo>
                <a:lnTo>
                  <a:pt x="114002" y="1020056"/>
                </a:lnTo>
                <a:lnTo>
                  <a:pt x="97618" y="1063061"/>
                </a:lnTo>
                <a:lnTo>
                  <a:pt x="82430" y="1106643"/>
                </a:lnTo>
                <a:lnTo>
                  <a:pt x="68457" y="1150783"/>
                </a:lnTo>
                <a:lnTo>
                  <a:pt x="55720" y="1195462"/>
                </a:lnTo>
                <a:lnTo>
                  <a:pt x="44239" y="1240658"/>
                </a:lnTo>
                <a:lnTo>
                  <a:pt x="34034" y="1286353"/>
                </a:lnTo>
                <a:lnTo>
                  <a:pt x="25124" y="1332525"/>
                </a:lnTo>
                <a:lnTo>
                  <a:pt x="17531" y="1379156"/>
                </a:lnTo>
                <a:lnTo>
                  <a:pt x="11273" y="1426226"/>
                </a:lnTo>
                <a:lnTo>
                  <a:pt x="6371" y="1473714"/>
                </a:lnTo>
                <a:lnTo>
                  <a:pt x="2844" y="1521600"/>
                </a:lnTo>
                <a:lnTo>
                  <a:pt x="714" y="1569864"/>
                </a:lnTo>
                <a:lnTo>
                  <a:pt x="0" y="1618487"/>
                </a:lnTo>
                <a:lnTo>
                  <a:pt x="714" y="1667029"/>
                </a:lnTo>
                <a:lnTo>
                  <a:pt x="2844" y="1715215"/>
                </a:lnTo>
                <a:lnTo>
                  <a:pt x="6371" y="1763025"/>
                </a:lnTo>
                <a:lnTo>
                  <a:pt x="11273" y="1810440"/>
                </a:lnTo>
                <a:lnTo>
                  <a:pt x="17531" y="1857439"/>
                </a:lnTo>
                <a:lnTo>
                  <a:pt x="25124" y="1904003"/>
                </a:lnTo>
                <a:lnTo>
                  <a:pt x="34034" y="1950111"/>
                </a:lnTo>
                <a:lnTo>
                  <a:pt x="44239" y="1995744"/>
                </a:lnTo>
                <a:lnTo>
                  <a:pt x="55720" y="2040881"/>
                </a:lnTo>
                <a:lnTo>
                  <a:pt x="68457" y="2085502"/>
                </a:lnTo>
                <a:lnTo>
                  <a:pt x="82430" y="2129588"/>
                </a:lnTo>
                <a:lnTo>
                  <a:pt x="97618" y="2173119"/>
                </a:lnTo>
                <a:lnTo>
                  <a:pt x="114002" y="2216073"/>
                </a:lnTo>
                <a:lnTo>
                  <a:pt x="131562" y="2258432"/>
                </a:lnTo>
                <a:lnTo>
                  <a:pt x="150278" y="2300176"/>
                </a:lnTo>
                <a:lnTo>
                  <a:pt x="170129" y="2341284"/>
                </a:lnTo>
                <a:lnTo>
                  <a:pt x="191096" y="2381736"/>
                </a:lnTo>
                <a:lnTo>
                  <a:pt x="213159" y="2421512"/>
                </a:lnTo>
                <a:lnTo>
                  <a:pt x="236298" y="2460593"/>
                </a:lnTo>
                <a:lnTo>
                  <a:pt x="260492" y="2498959"/>
                </a:lnTo>
                <a:lnTo>
                  <a:pt x="285723" y="2536588"/>
                </a:lnTo>
                <a:lnTo>
                  <a:pt x="311968" y="2573462"/>
                </a:lnTo>
                <a:lnTo>
                  <a:pt x="339210" y="2609561"/>
                </a:lnTo>
                <a:lnTo>
                  <a:pt x="367427" y="2644864"/>
                </a:lnTo>
                <a:lnTo>
                  <a:pt x="396600" y="2679351"/>
                </a:lnTo>
                <a:lnTo>
                  <a:pt x="426709" y="2713002"/>
                </a:lnTo>
                <a:lnTo>
                  <a:pt x="457733" y="2745798"/>
                </a:lnTo>
                <a:lnTo>
                  <a:pt x="489653" y="2777718"/>
                </a:lnTo>
                <a:lnTo>
                  <a:pt x="522449" y="2808742"/>
                </a:lnTo>
                <a:lnTo>
                  <a:pt x="556100" y="2838851"/>
                </a:lnTo>
                <a:lnTo>
                  <a:pt x="590587" y="2868024"/>
                </a:lnTo>
                <a:lnTo>
                  <a:pt x="625890" y="2896241"/>
                </a:lnTo>
                <a:lnTo>
                  <a:pt x="661989" y="2923483"/>
                </a:lnTo>
                <a:lnTo>
                  <a:pt x="698863" y="2949728"/>
                </a:lnTo>
                <a:lnTo>
                  <a:pt x="736492" y="2974958"/>
                </a:lnTo>
                <a:lnTo>
                  <a:pt x="774858" y="2999153"/>
                </a:lnTo>
                <a:lnTo>
                  <a:pt x="813939" y="3022292"/>
                </a:lnTo>
                <a:lnTo>
                  <a:pt x="853715" y="3044354"/>
                </a:lnTo>
                <a:lnTo>
                  <a:pt x="894167" y="3065322"/>
                </a:lnTo>
                <a:lnTo>
                  <a:pt x="935275" y="3085173"/>
                </a:lnTo>
                <a:lnTo>
                  <a:pt x="977019" y="3103889"/>
                </a:lnTo>
                <a:lnTo>
                  <a:pt x="1019378" y="3121449"/>
                </a:lnTo>
                <a:lnTo>
                  <a:pt x="1062332" y="3137833"/>
                </a:lnTo>
                <a:lnTo>
                  <a:pt x="1105863" y="3153021"/>
                </a:lnTo>
                <a:lnTo>
                  <a:pt x="1149949" y="3166994"/>
                </a:lnTo>
                <a:lnTo>
                  <a:pt x="1194570" y="3179731"/>
                </a:lnTo>
                <a:lnTo>
                  <a:pt x="1239707" y="3191212"/>
                </a:lnTo>
                <a:lnTo>
                  <a:pt x="1285340" y="3201417"/>
                </a:lnTo>
                <a:lnTo>
                  <a:pt x="1331448" y="3210327"/>
                </a:lnTo>
                <a:lnTo>
                  <a:pt x="1378011" y="3217920"/>
                </a:lnTo>
                <a:lnTo>
                  <a:pt x="1425011" y="3224178"/>
                </a:lnTo>
                <a:lnTo>
                  <a:pt x="1472426" y="3229080"/>
                </a:lnTo>
                <a:lnTo>
                  <a:pt x="1520236" y="3232606"/>
                </a:lnTo>
                <a:lnTo>
                  <a:pt x="1568422" y="3234737"/>
                </a:lnTo>
                <a:lnTo>
                  <a:pt x="1616963" y="3235451"/>
                </a:lnTo>
                <a:lnTo>
                  <a:pt x="1665587" y="3234737"/>
                </a:lnTo>
                <a:lnTo>
                  <a:pt x="1713851" y="3232606"/>
                </a:lnTo>
                <a:lnTo>
                  <a:pt x="1761737" y="3229080"/>
                </a:lnTo>
                <a:lnTo>
                  <a:pt x="1809225" y="3224178"/>
                </a:lnTo>
                <a:lnTo>
                  <a:pt x="1856294" y="3217920"/>
                </a:lnTo>
                <a:lnTo>
                  <a:pt x="1902926" y="3210327"/>
                </a:lnTo>
                <a:lnTo>
                  <a:pt x="1949098" y="3201417"/>
                </a:lnTo>
                <a:lnTo>
                  <a:pt x="1994793" y="3191212"/>
                </a:lnTo>
                <a:lnTo>
                  <a:pt x="2039989" y="3179731"/>
                </a:lnTo>
                <a:lnTo>
                  <a:pt x="2084668" y="3166994"/>
                </a:lnTo>
                <a:lnTo>
                  <a:pt x="2128808" y="3153021"/>
                </a:lnTo>
                <a:lnTo>
                  <a:pt x="2172390" y="3137833"/>
                </a:lnTo>
                <a:lnTo>
                  <a:pt x="2215395" y="3121449"/>
                </a:lnTo>
                <a:lnTo>
                  <a:pt x="2257801" y="3103889"/>
                </a:lnTo>
                <a:lnTo>
                  <a:pt x="2299589" y="3085173"/>
                </a:lnTo>
                <a:lnTo>
                  <a:pt x="2340740" y="3065322"/>
                </a:lnTo>
                <a:lnTo>
                  <a:pt x="2381233" y="3044354"/>
                </a:lnTo>
                <a:lnTo>
                  <a:pt x="2421048" y="3022292"/>
                </a:lnTo>
                <a:lnTo>
                  <a:pt x="2460166" y="2999153"/>
                </a:lnTo>
                <a:lnTo>
                  <a:pt x="2498566" y="2974958"/>
                </a:lnTo>
                <a:lnTo>
                  <a:pt x="2536228" y="2949728"/>
                </a:lnTo>
                <a:lnTo>
                  <a:pt x="2573133" y="2923483"/>
                </a:lnTo>
                <a:lnTo>
                  <a:pt x="2609261" y="2896241"/>
                </a:lnTo>
                <a:lnTo>
                  <a:pt x="2644591" y="2868024"/>
                </a:lnTo>
                <a:lnTo>
                  <a:pt x="2679103" y="2838851"/>
                </a:lnTo>
                <a:lnTo>
                  <a:pt x="2712779" y="2808742"/>
                </a:lnTo>
                <a:lnTo>
                  <a:pt x="2745597" y="2777718"/>
                </a:lnTo>
                <a:lnTo>
                  <a:pt x="2777537" y="2745798"/>
                </a:lnTo>
                <a:lnTo>
                  <a:pt x="2808581" y="2713002"/>
                </a:lnTo>
                <a:lnTo>
                  <a:pt x="2838708" y="2679351"/>
                </a:lnTo>
                <a:lnTo>
                  <a:pt x="2867897" y="2644864"/>
                </a:lnTo>
                <a:lnTo>
                  <a:pt x="2896130" y="2609561"/>
                </a:lnTo>
                <a:lnTo>
                  <a:pt x="2923385" y="2573462"/>
                </a:lnTo>
                <a:lnTo>
                  <a:pt x="2949644" y="2536588"/>
                </a:lnTo>
                <a:lnTo>
                  <a:pt x="2974885" y="2498959"/>
                </a:lnTo>
                <a:lnTo>
                  <a:pt x="2999090" y="2460593"/>
                </a:lnTo>
                <a:lnTo>
                  <a:pt x="3022238" y="2421512"/>
                </a:lnTo>
                <a:lnTo>
                  <a:pt x="3044309" y="2381736"/>
                </a:lnTo>
                <a:lnTo>
                  <a:pt x="3065284" y="2341284"/>
                </a:lnTo>
                <a:lnTo>
                  <a:pt x="3085142" y="2300176"/>
                </a:lnTo>
                <a:lnTo>
                  <a:pt x="3103864" y="2258432"/>
                </a:lnTo>
                <a:lnTo>
                  <a:pt x="3121429" y="2216073"/>
                </a:lnTo>
                <a:lnTo>
                  <a:pt x="3137817" y="2173119"/>
                </a:lnTo>
                <a:lnTo>
                  <a:pt x="3153009" y="2129588"/>
                </a:lnTo>
                <a:lnTo>
                  <a:pt x="3166985" y="2085502"/>
                </a:lnTo>
                <a:lnTo>
                  <a:pt x="3179724" y="2040881"/>
                </a:lnTo>
                <a:lnTo>
                  <a:pt x="3191207" y="1995744"/>
                </a:lnTo>
                <a:lnTo>
                  <a:pt x="3201414" y="1950111"/>
                </a:lnTo>
                <a:lnTo>
                  <a:pt x="3210325" y="1904003"/>
                </a:lnTo>
                <a:lnTo>
                  <a:pt x="3217919" y="1857439"/>
                </a:lnTo>
                <a:lnTo>
                  <a:pt x="3224178" y="1810440"/>
                </a:lnTo>
                <a:lnTo>
                  <a:pt x="3229080" y="1763025"/>
                </a:lnTo>
                <a:lnTo>
                  <a:pt x="3232606" y="1715215"/>
                </a:lnTo>
                <a:lnTo>
                  <a:pt x="3234737" y="1667029"/>
                </a:lnTo>
                <a:lnTo>
                  <a:pt x="3235451" y="161848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891130" y="933917"/>
            <a:ext cx="5290022" cy="5290023"/>
          </a:xfrm>
          <a:custGeom>
            <a:avLst/>
            <a:gdLst/>
            <a:ahLst/>
            <a:cxnLst/>
            <a:rect l="l" t="t" r="r" b="b"/>
            <a:pathLst>
              <a:path w="4434840" h="4434840">
                <a:moveTo>
                  <a:pt x="19811" y="2330195"/>
                </a:moveTo>
                <a:lnTo>
                  <a:pt x="18287" y="2314955"/>
                </a:lnTo>
                <a:lnTo>
                  <a:pt x="3047" y="2314955"/>
                </a:lnTo>
                <a:lnTo>
                  <a:pt x="3047" y="2331719"/>
                </a:lnTo>
                <a:lnTo>
                  <a:pt x="19811" y="2330195"/>
                </a:lnTo>
                <a:close/>
              </a:path>
              <a:path w="4434840" h="4434840">
                <a:moveTo>
                  <a:pt x="18287" y="2298191"/>
                </a:moveTo>
                <a:lnTo>
                  <a:pt x="18287" y="2282951"/>
                </a:lnTo>
                <a:lnTo>
                  <a:pt x="1523" y="2282951"/>
                </a:lnTo>
                <a:lnTo>
                  <a:pt x="3047" y="2299715"/>
                </a:lnTo>
                <a:lnTo>
                  <a:pt x="18287" y="2298191"/>
                </a:lnTo>
                <a:close/>
              </a:path>
              <a:path w="4434840" h="4434840">
                <a:moveTo>
                  <a:pt x="18287" y="2266187"/>
                </a:moveTo>
                <a:lnTo>
                  <a:pt x="16763" y="2250947"/>
                </a:lnTo>
                <a:lnTo>
                  <a:pt x="1523" y="2250947"/>
                </a:lnTo>
                <a:lnTo>
                  <a:pt x="1523" y="2267711"/>
                </a:lnTo>
                <a:lnTo>
                  <a:pt x="18287" y="2266187"/>
                </a:lnTo>
                <a:close/>
              </a:path>
              <a:path w="4434840" h="4434840">
                <a:moveTo>
                  <a:pt x="16763" y="2234183"/>
                </a:moveTo>
                <a:lnTo>
                  <a:pt x="16763" y="2218943"/>
                </a:lnTo>
                <a:lnTo>
                  <a:pt x="0" y="2218943"/>
                </a:lnTo>
                <a:lnTo>
                  <a:pt x="1523" y="2235707"/>
                </a:lnTo>
                <a:lnTo>
                  <a:pt x="16763" y="2234183"/>
                </a:lnTo>
                <a:close/>
              </a:path>
              <a:path w="4434840" h="4434840">
                <a:moveTo>
                  <a:pt x="16763" y="2202179"/>
                </a:moveTo>
                <a:lnTo>
                  <a:pt x="16763" y="2186939"/>
                </a:lnTo>
                <a:lnTo>
                  <a:pt x="1523" y="2186939"/>
                </a:lnTo>
                <a:lnTo>
                  <a:pt x="1523" y="2202179"/>
                </a:lnTo>
                <a:lnTo>
                  <a:pt x="16763" y="2202179"/>
                </a:lnTo>
                <a:close/>
              </a:path>
              <a:path w="4434840" h="4434840">
                <a:moveTo>
                  <a:pt x="18287" y="2170175"/>
                </a:moveTo>
                <a:lnTo>
                  <a:pt x="18287" y="2154935"/>
                </a:lnTo>
                <a:lnTo>
                  <a:pt x="1523" y="2154935"/>
                </a:lnTo>
                <a:lnTo>
                  <a:pt x="1523" y="2170175"/>
                </a:lnTo>
                <a:lnTo>
                  <a:pt x="18287" y="2170175"/>
                </a:lnTo>
                <a:close/>
              </a:path>
              <a:path w="4434840" h="4434840">
                <a:moveTo>
                  <a:pt x="18287" y="2138171"/>
                </a:moveTo>
                <a:lnTo>
                  <a:pt x="18287" y="2122931"/>
                </a:lnTo>
                <a:lnTo>
                  <a:pt x="3047" y="2122931"/>
                </a:lnTo>
                <a:lnTo>
                  <a:pt x="3047" y="2138171"/>
                </a:lnTo>
                <a:lnTo>
                  <a:pt x="18287" y="2138171"/>
                </a:lnTo>
                <a:close/>
              </a:path>
              <a:path w="4434840" h="4434840">
                <a:moveTo>
                  <a:pt x="19811" y="2106167"/>
                </a:moveTo>
                <a:lnTo>
                  <a:pt x="19811" y="2090927"/>
                </a:lnTo>
                <a:lnTo>
                  <a:pt x="4571" y="2089403"/>
                </a:lnTo>
                <a:lnTo>
                  <a:pt x="3047" y="2103119"/>
                </a:lnTo>
                <a:lnTo>
                  <a:pt x="3047" y="2106167"/>
                </a:lnTo>
                <a:lnTo>
                  <a:pt x="19811" y="2106167"/>
                </a:lnTo>
                <a:close/>
              </a:path>
              <a:path w="4434840" h="4434840">
                <a:moveTo>
                  <a:pt x="22859" y="2058923"/>
                </a:moveTo>
                <a:lnTo>
                  <a:pt x="6095" y="2057399"/>
                </a:lnTo>
                <a:lnTo>
                  <a:pt x="6095" y="2074163"/>
                </a:lnTo>
                <a:lnTo>
                  <a:pt x="21335" y="2075687"/>
                </a:lnTo>
                <a:lnTo>
                  <a:pt x="22859" y="2058923"/>
                </a:lnTo>
                <a:close/>
              </a:path>
              <a:path w="4434840" h="4434840">
                <a:moveTo>
                  <a:pt x="25907" y="2026919"/>
                </a:moveTo>
                <a:lnTo>
                  <a:pt x="9143" y="2025395"/>
                </a:lnTo>
                <a:lnTo>
                  <a:pt x="7619" y="2042159"/>
                </a:lnTo>
                <a:lnTo>
                  <a:pt x="24383" y="2043683"/>
                </a:lnTo>
                <a:lnTo>
                  <a:pt x="25907" y="2026919"/>
                </a:lnTo>
                <a:close/>
              </a:path>
              <a:path w="4434840" h="4434840">
                <a:moveTo>
                  <a:pt x="27431" y="1994915"/>
                </a:moveTo>
                <a:lnTo>
                  <a:pt x="12191" y="1993391"/>
                </a:lnTo>
                <a:lnTo>
                  <a:pt x="10667" y="2010155"/>
                </a:lnTo>
                <a:lnTo>
                  <a:pt x="25907" y="2011679"/>
                </a:lnTo>
                <a:lnTo>
                  <a:pt x="27431" y="1994915"/>
                </a:lnTo>
                <a:close/>
              </a:path>
              <a:path w="4434840" h="4434840">
                <a:moveTo>
                  <a:pt x="32003" y="1964435"/>
                </a:moveTo>
                <a:lnTo>
                  <a:pt x="15239" y="1961387"/>
                </a:lnTo>
                <a:lnTo>
                  <a:pt x="13715" y="1978151"/>
                </a:lnTo>
                <a:lnTo>
                  <a:pt x="28955" y="1979675"/>
                </a:lnTo>
                <a:lnTo>
                  <a:pt x="32003" y="1964435"/>
                </a:lnTo>
                <a:close/>
              </a:path>
              <a:path w="4434840" h="4434840">
                <a:moveTo>
                  <a:pt x="35051" y="1932431"/>
                </a:moveTo>
                <a:lnTo>
                  <a:pt x="19811" y="1929383"/>
                </a:lnTo>
                <a:lnTo>
                  <a:pt x="18287" y="1946147"/>
                </a:lnTo>
                <a:lnTo>
                  <a:pt x="33527" y="1947671"/>
                </a:lnTo>
                <a:lnTo>
                  <a:pt x="35051" y="1932431"/>
                </a:lnTo>
                <a:close/>
              </a:path>
              <a:path w="4434840" h="4434840">
                <a:moveTo>
                  <a:pt x="39623" y="1900427"/>
                </a:moveTo>
                <a:lnTo>
                  <a:pt x="24383" y="1897379"/>
                </a:lnTo>
                <a:lnTo>
                  <a:pt x="21335" y="1914143"/>
                </a:lnTo>
                <a:lnTo>
                  <a:pt x="38099" y="1915667"/>
                </a:lnTo>
                <a:lnTo>
                  <a:pt x="39623" y="1900427"/>
                </a:lnTo>
                <a:close/>
              </a:path>
              <a:path w="4434840" h="4434840">
                <a:moveTo>
                  <a:pt x="44195" y="1868423"/>
                </a:moveTo>
                <a:lnTo>
                  <a:pt x="28955" y="1865375"/>
                </a:lnTo>
                <a:lnTo>
                  <a:pt x="25907" y="1879091"/>
                </a:lnTo>
                <a:lnTo>
                  <a:pt x="25907" y="1882139"/>
                </a:lnTo>
                <a:lnTo>
                  <a:pt x="41147" y="1883663"/>
                </a:lnTo>
                <a:lnTo>
                  <a:pt x="42671" y="1882139"/>
                </a:lnTo>
                <a:lnTo>
                  <a:pt x="44195" y="1868423"/>
                </a:lnTo>
                <a:close/>
              </a:path>
              <a:path w="4434840" h="4434840">
                <a:moveTo>
                  <a:pt x="50291" y="1837943"/>
                </a:moveTo>
                <a:lnTo>
                  <a:pt x="33527" y="1834895"/>
                </a:lnTo>
                <a:lnTo>
                  <a:pt x="32003" y="1850135"/>
                </a:lnTo>
                <a:lnTo>
                  <a:pt x="47243" y="1853183"/>
                </a:lnTo>
                <a:lnTo>
                  <a:pt x="50291" y="1837943"/>
                </a:lnTo>
                <a:close/>
              </a:path>
              <a:path w="4434840" h="4434840">
                <a:moveTo>
                  <a:pt x="54863" y="1805939"/>
                </a:moveTo>
                <a:lnTo>
                  <a:pt x="39623" y="1802891"/>
                </a:lnTo>
                <a:lnTo>
                  <a:pt x="36575" y="1818131"/>
                </a:lnTo>
                <a:lnTo>
                  <a:pt x="53339" y="1821179"/>
                </a:lnTo>
                <a:lnTo>
                  <a:pt x="54863" y="1805939"/>
                </a:lnTo>
                <a:close/>
              </a:path>
              <a:path w="4434840" h="4434840">
                <a:moveTo>
                  <a:pt x="60959" y="1773935"/>
                </a:moveTo>
                <a:lnTo>
                  <a:pt x="45719" y="1770887"/>
                </a:lnTo>
                <a:lnTo>
                  <a:pt x="42671" y="1787651"/>
                </a:lnTo>
                <a:lnTo>
                  <a:pt x="57911" y="1789175"/>
                </a:lnTo>
                <a:lnTo>
                  <a:pt x="60959" y="1773935"/>
                </a:lnTo>
                <a:close/>
              </a:path>
              <a:path w="4434840" h="4434840">
                <a:moveTo>
                  <a:pt x="68579" y="1743455"/>
                </a:moveTo>
                <a:lnTo>
                  <a:pt x="53339" y="1738883"/>
                </a:lnTo>
                <a:lnTo>
                  <a:pt x="48767" y="1755647"/>
                </a:lnTo>
                <a:lnTo>
                  <a:pt x="64007" y="1758695"/>
                </a:lnTo>
                <a:lnTo>
                  <a:pt x="68579" y="1743455"/>
                </a:lnTo>
                <a:close/>
              </a:path>
              <a:path w="4434840" h="4434840">
                <a:moveTo>
                  <a:pt x="76199" y="1711451"/>
                </a:moveTo>
                <a:lnTo>
                  <a:pt x="59435" y="1708403"/>
                </a:lnTo>
                <a:lnTo>
                  <a:pt x="56387" y="1723643"/>
                </a:lnTo>
                <a:lnTo>
                  <a:pt x="71627" y="1728215"/>
                </a:lnTo>
                <a:lnTo>
                  <a:pt x="76199" y="1711451"/>
                </a:lnTo>
                <a:close/>
              </a:path>
              <a:path w="4434840" h="4434840">
                <a:moveTo>
                  <a:pt x="82295" y="1680971"/>
                </a:moveTo>
                <a:lnTo>
                  <a:pt x="67055" y="1676399"/>
                </a:lnTo>
                <a:lnTo>
                  <a:pt x="64007" y="1693163"/>
                </a:lnTo>
                <a:lnTo>
                  <a:pt x="79247" y="1696211"/>
                </a:lnTo>
                <a:lnTo>
                  <a:pt x="82295" y="1680971"/>
                </a:lnTo>
                <a:close/>
              </a:path>
              <a:path w="4434840" h="4434840">
                <a:moveTo>
                  <a:pt x="89915" y="1650491"/>
                </a:moveTo>
                <a:lnTo>
                  <a:pt x="74675" y="1645919"/>
                </a:lnTo>
                <a:lnTo>
                  <a:pt x="70103" y="1661159"/>
                </a:lnTo>
                <a:lnTo>
                  <a:pt x="86867" y="1665731"/>
                </a:lnTo>
                <a:lnTo>
                  <a:pt x="89915" y="1650491"/>
                </a:lnTo>
                <a:close/>
              </a:path>
              <a:path w="4434840" h="4434840">
                <a:moveTo>
                  <a:pt x="99059" y="1618487"/>
                </a:moveTo>
                <a:lnTo>
                  <a:pt x="83819" y="1615439"/>
                </a:lnTo>
                <a:lnTo>
                  <a:pt x="79247" y="1630679"/>
                </a:lnTo>
                <a:lnTo>
                  <a:pt x="94487" y="1635251"/>
                </a:lnTo>
                <a:lnTo>
                  <a:pt x="99059" y="1618487"/>
                </a:lnTo>
                <a:close/>
              </a:path>
              <a:path w="4434840" h="4434840">
                <a:moveTo>
                  <a:pt x="108203" y="1588007"/>
                </a:moveTo>
                <a:lnTo>
                  <a:pt x="92963" y="1583435"/>
                </a:lnTo>
                <a:lnTo>
                  <a:pt x="88391" y="1598675"/>
                </a:lnTo>
                <a:lnTo>
                  <a:pt x="103631" y="1603247"/>
                </a:lnTo>
                <a:lnTo>
                  <a:pt x="108203" y="1588007"/>
                </a:lnTo>
                <a:close/>
              </a:path>
              <a:path w="4434840" h="4434840">
                <a:moveTo>
                  <a:pt x="117347" y="1557527"/>
                </a:moveTo>
                <a:lnTo>
                  <a:pt x="102107" y="1552955"/>
                </a:lnTo>
                <a:lnTo>
                  <a:pt x="100583" y="1557527"/>
                </a:lnTo>
                <a:lnTo>
                  <a:pt x="97535" y="1568195"/>
                </a:lnTo>
                <a:lnTo>
                  <a:pt x="112775" y="1572767"/>
                </a:lnTo>
                <a:lnTo>
                  <a:pt x="115823" y="1562099"/>
                </a:lnTo>
                <a:lnTo>
                  <a:pt x="117347" y="1557527"/>
                </a:lnTo>
                <a:close/>
              </a:path>
              <a:path w="4434840" h="4434840">
                <a:moveTo>
                  <a:pt x="128015" y="1527047"/>
                </a:moveTo>
                <a:lnTo>
                  <a:pt x="112775" y="1522475"/>
                </a:lnTo>
                <a:lnTo>
                  <a:pt x="106679" y="1537715"/>
                </a:lnTo>
                <a:lnTo>
                  <a:pt x="121919" y="1542287"/>
                </a:lnTo>
                <a:lnTo>
                  <a:pt x="128015" y="1527047"/>
                </a:lnTo>
                <a:close/>
              </a:path>
              <a:path w="4434840" h="4434840">
                <a:moveTo>
                  <a:pt x="137159" y="1496567"/>
                </a:moveTo>
                <a:lnTo>
                  <a:pt x="121919" y="1491995"/>
                </a:lnTo>
                <a:lnTo>
                  <a:pt x="117347" y="1507235"/>
                </a:lnTo>
                <a:lnTo>
                  <a:pt x="132587" y="1511807"/>
                </a:lnTo>
                <a:lnTo>
                  <a:pt x="137159" y="1496567"/>
                </a:lnTo>
                <a:close/>
              </a:path>
              <a:path w="4434840" h="4434840">
                <a:moveTo>
                  <a:pt x="147827" y="1467611"/>
                </a:moveTo>
                <a:lnTo>
                  <a:pt x="132587" y="1461515"/>
                </a:lnTo>
                <a:lnTo>
                  <a:pt x="128015" y="1476755"/>
                </a:lnTo>
                <a:lnTo>
                  <a:pt x="143255" y="1481327"/>
                </a:lnTo>
                <a:lnTo>
                  <a:pt x="147827" y="1467611"/>
                </a:lnTo>
                <a:close/>
              </a:path>
              <a:path w="4434840" h="4434840">
                <a:moveTo>
                  <a:pt x="158495" y="1437131"/>
                </a:moveTo>
                <a:lnTo>
                  <a:pt x="144779" y="1431035"/>
                </a:lnTo>
                <a:lnTo>
                  <a:pt x="138683" y="1446275"/>
                </a:lnTo>
                <a:lnTo>
                  <a:pt x="153923" y="1452371"/>
                </a:lnTo>
                <a:lnTo>
                  <a:pt x="158495" y="1437131"/>
                </a:lnTo>
                <a:close/>
              </a:path>
              <a:path w="4434840" h="4434840">
                <a:moveTo>
                  <a:pt x="170687" y="1408175"/>
                </a:moveTo>
                <a:lnTo>
                  <a:pt x="155447" y="1402079"/>
                </a:lnTo>
                <a:lnTo>
                  <a:pt x="150875" y="1415795"/>
                </a:lnTo>
                <a:lnTo>
                  <a:pt x="164591" y="1421891"/>
                </a:lnTo>
                <a:lnTo>
                  <a:pt x="170687" y="1408175"/>
                </a:lnTo>
                <a:close/>
              </a:path>
              <a:path w="4434840" h="4434840">
                <a:moveTo>
                  <a:pt x="182879" y="1377695"/>
                </a:moveTo>
                <a:lnTo>
                  <a:pt x="167639" y="1371599"/>
                </a:lnTo>
                <a:lnTo>
                  <a:pt x="161543" y="1386839"/>
                </a:lnTo>
                <a:lnTo>
                  <a:pt x="176783" y="1392935"/>
                </a:lnTo>
                <a:lnTo>
                  <a:pt x="182879" y="1377695"/>
                </a:lnTo>
                <a:close/>
              </a:path>
              <a:path w="4434840" h="4434840">
                <a:moveTo>
                  <a:pt x="195071" y="1348739"/>
                </a:moveTo>
                <a:lnTo>
                  <a:pt x="179831" y="1341119"/>
                </a:lnTo>
                <a:lnTo>
                  <a:pt x="175259" y="1354835"/>
                </a:lnTo>
                <a:lnTo>
                  <a:pt x="173735" y="1356359"/>
                </a:lnTo>
                <a:lnTo>
                  <a:pt x="188975" y="1362455"/>
                </a:lnTo>
                <a:lnTo>
                  <a:pt x="188975" y="1359407"/>
                </a:lnTo>
                <a:lnTo>
                  <a:pt x="195071" y="1348739"/>
                </a:lnTo>
                <a:close/>
              </a:path>
              <a:path w="4434840" h="4434840">
                <a:moveTo>
                  <a:pt x="208787" y="1319783"/>
                </a:moveTo>
                <a:lnTo>
                  <a:pt x="193547" y="1312163"/>
                </a:lnTo>
                <a:lnTo>
                  <a:pt x="187451" y="1327403"/>
                </a:lnTo>
                <a:lnTo>
                  <a:pt x="201167" y="1333499"/>
                </a:lnTo>
                <a:lnTo>
                  <a:pt x="208787" y="1319783"/>
                </a:lnTo>
                <a:close/>
              </a:path>
              <a:path w="4434840" h="4434840">
                <a:moveTo>
                  <a:pt x="220979" y="1289303"/>
                </a:moveTo>
                <a:lnTo>
                  <a:pt x="207263" y="1283207"/>
                </a:lnTo>
                <a:lnTo>
                  <a:pt x="199643" y="1298447"/>
                </a:lnTo>
                <a:lnTo>
                  <a:pt x="214883" y="1304543"/>
                </a:lnTo>
                <a:lnTo>
                  <a:pt x="220979" y="1289303"/>
                </a:lnTo>
                <a:close/>
              </a:path>
              <a:path w="4434840" h="4434840">
                <a:moveTo>
                  <a:pt x="234695" y="1260347"/>
                </a:moveTo>
                <a:lnTo>
                  <a:pt x="219455" y="1254251"/>
                </a:lnTo>
                <a:lnTo>
                  <a:pt x="219455" y="1255775"/>
                </a:lnTo>
                <a:lnTo>
                  <a:pt x="213359" y="1267967"/>
                </a:lnTo>
                <a:lnTo>
                  <a:pt x="228599" y="1275587"/>
                </a:lnTo>
                <a:lnTo>
                  <a:pt x="233171" y="1261871"/>
                </a:lnTo>
                <a:lnTo>
                  <a:pt x="234695" y="1260347"/>
                </a:lnTo>
                <a:close/>
              </a:path>
              <a:path w="4434840" h="4434840">
                <a:moveTo>
                  <a:pt x="248411" y="1232915"/>
                </a:moveTo>
                <a:lnTo>
                  <a:pt x="234695" y="1225295"/>
                </a:lnTo>
                <a:lnTo>
                  <a:pt x="227075" y="1239011"/>
                </a:lnTo>
                <a:lnTo>
                  <a:pt x="242315" y="1246631"/>
                </a:lnTo>
                <a:lnTo>
                  <a:pt x="248411" y="1232915"/>
                </a:lnTo>
                <a:close/>
              </a:path>
              <a:path w="4434840" h="4434840">
                <a:moveTo>
                  <a:pt x="263651" y="1203959"/>
                </a:moveTo>
                <a:lnTo>
                  <a:pt x="249935" y="1196339"/>
                </a:lnTo>
                <a:lnTo>
                  <a:pt x="242315" y="1211579"/>
                </a:lnTo>
                <a:lnTo>
                  <a:pt x="256031" y="1217675"/>
                </a:lnTo>
                <a:lnTo>
                  <a:pt x="263651" y="1203959"/>
                </a:lnTo>
                <a:close/>
              </a:path>
              <a:path w="4434840" h="4434840">
                <a:moveTo>
                  <a:pt x="278891" y="1175003"/>
                </a:moveTo>
                <a:lnTo>
                  <a:pt x="263651" y="1168907"/>
                </a:lnTo>
                <a:lnTo>
                  <a:pt x="257555" y="1182623"/>
                </a:lnTo>
                <a:lnTo>
                  <a:pt x="271271" y="1190243"/>
                </a:lnTo>
                <a:lnTo>
                  <a:pt x="278891" y="1175003"/>
                </a:lnTo>
                <a:close/>
              </a:path>
              <a:path w="4434840" h="4434840">
                <a:moveTo>
                  <a:pt x="294131" y="1147571"/>
                </a:moveTo>
                <a:lnTo>
                  <a:pt x="280415" y="1139951"/>
                </a:lnTo>
                <a:lnTo>
                  <a:pt x="271271" y="1153667"/>
                </a:lnTo>
                <a:lnTo>
                  <a:pt x="286511" y="1161287"/>
                </a:lnTo>
                <a:lnTo>
                  <a:pt x="294131" y="1147571"/>
                </a:lnTo>
                <a:close/>
              </a:path>
              <a:path w="4434840" h="4434840">
                <a:moveTo>
                  <a:pt x="309371" y="1120139"/>
                </a:moveTo>
                <a:lnTo>
                  <a:pt x="295655" y="1112519"/>
                </a:lnTo>
                <a:lnTo>
                  <a:pt x="288035" y="1126235"/>
                </a:lnTo>
                <a:lnTo>
                  <a:pt x="301751" y="1133855"/>
                </a:lnTo>
                <a:lnTo>
                  <a:pt x="309371" y="1120139"/>
                </a:lnTo>
                <a:close/>
              </a:path>
              <a:path w="4434840" h="4434840">
                <a:moveTo>
                  <a:pt x="326135" y="1092707"/>
                </a:moveTo>
                <a:lnTo>
                  <a:pt x="312419" y="1083563"/>
                </a:lnTo>
                <a:lnTo>
                  <a:pt x="303275" y="1098803"/>
                </a:lnTo>
                <a:lnTo>
                  <a:pt x="318515" y="1106423"/>
                </a:lnTo>
                <a:lnTo>
                  <a:pt x="326135" y="1092707"/>
                </a:lnTo>
                <a:close/>
              </a:path>
              <a:path w="4434840" h="4434840">
                <a:moveTo>
                  <a:pt x="341375" y="1065275"/>
                </a:moveTo>
                <a:lnTo>
                  <a:pt x="329183" y="1056131"/>
                </a:lnTo>
                <a:lnTo>
                  <a:pt x="321563" y="1066799"/>
                </a:lnTo>
                <a:lnTo>
                  <a:pt x="320039" y="1069847"/>
                </a:lnTo>
                <a:lnTo>
                  <a:pt x="333755" y="1078991"/>
                </a:lnTo>
                <a:lnTo>
                  <a:pt x="335279" y="1075943"/>
                </a:lnTo>
                <a:lnTo>
                  <a:pt x="341375" y="1065275"/>
                </a:lnTo>
                <a:close/>
              </a:path>
              <a:path w="4434840" h="4434840">
                <a:moveTo>
                  <a:pt x="359663" y="1037843"/>
                </a:moveTo>
                <a:lnTo>
                  <a:pt x="345947" y="1028699"/>
                </a:lnTo>
                <a:lnTo>
                  <a:pt x="336803" y="1042415"/>
                </a:lnTo>
                <a:lnTo>
                  <a:pt x="350519" y="1051559"/>
                </a:lnTo>
                <a:lnTo>
                  <a:pt x="359663" y="1037843"/>
                </a:lnTo>
                <a:close/>
              </a:path>
              <a:path w="4434840" h="4434840">
                <a:moveTo>
                  <a:pt x="376427" y="1010411"/>
                </a:moveTo>
                <a:lnTo>
                  <a:pt x="362711" y="1002791"/>
                </a:lnTo>
                <a:lnTo>
                  <a:pt x="355091" y="1016507"/>
                </a:lnTo>
                <a:lnTo>
                  <a:pt x="368807" y="1024127"/>
                </a:lnTo>
                <a:lnTo>
                  <a:pt x="376427" y="1010411"/>
                </a:lnTo>
                <a:close/>
              </a:path>
              <a:path w="4434840" h="4434840">
                <a:moveTo>
                  <a:pt x="393191" y="986027"/>
                </a:moveTo>
                <a:lnTo>
                  <a:pt x="393191" y="984503"/>
                </a:lnTo>
                <a:lnTo>
                  <a:pt x="380999" y="975359"/>
                </a:lnTo>
                <a:lnTo>
                  <a:pt x="379475" y="976883"/>
                </a:lnTo>
                <a:lnTo>
                  <a:pt x="371855" y="989075"/>
                </a:lnTo>
                <a:lnTo>
                  <a:pt x="385571" y="998219"/>
                </a:lnTo>
                <a:lnTo>
                  <a:pt x="393191" y="986027"/>
                </a:lnTo>
                <a:close/>
              </a:path>
              <a:path w="4434840" h="4434840">
                <a:moveTo>
                  <a:pt x="413003" y="958595"/>
                </a:moveTo>
                <a:lnTo>
                  <a:pt x="399287" y="949451"/>
                </a:lnTo>
                <a:lnTo>
                  <a:pt x="390143" y="961643"/>
                </a:lnTo>
                <a:lnTo>
                  <a:pt x="403859" y="970787"/>
                </a:lnTo>
                <a:lnTo>
                  <a:pt x="413003" y="958595"/>
                </a:lnTo>
                <a:close/>
              </a:path>
              <a:path w="4434840" h="4434840">
                <a:moveTo>
                  <a:pt x="431291" y="932687"/>
                </a:moveTo>
                <a:lnTo>
                  <a:pt x="417575" y="923543"/>
                </a:lnTo>
                <a:lnTo>
                  <a:pt x="408431" y="935735"/>
                </a:lnTo>
                <a:lnTo>
                  <a:pt x="422147" y="944879"/>
                </a:lnTo>
                <a:lnTo>
                  <a:pt x="431291" y="932687"/>
                </a:lnTo>
                <a:close/>
              </a:path>
              <a:path w="4434840" h="4434840">
                <a:moveTo>
                  <a:pt x="449579" y="905255"/>
                </a:moveTo>
                <a:lnTo>
                  <a:pt x="435863" y="896111"/>
                </a:lnTo>
                <a:lnTo>
                  <a:pt x="426719" y="909827"/>
                </a:lnTo>
                <a:lnTo>
                  <a:pt x="440435" y="918971"/>
                </a:lnTo>
                <a:lnTo>
                  <a:pt x="449579" y="905255"/>
                </a:lnTo>
                <a:close/>
              </a:path>
              <a:path w="4434840" h="4434840">
                <a:moveTo>
                  <a:pt x="469391" y="880871"/>
                </a:moveTo>
                <a:lnTo>
                  <a:pt x="455675" y="871727"/>
                </a:lnTo>
                <a:lnTo>
                  <a:pt x="446531" y="883919"/>
                </a:lnTo>
                <a:lnTo>
                  <a:pt x="458723" y="893063"/>
                </a:lnTo>
                <a:lnTo>
                  <a:pt x="469391" y="880871"/>
                </a:lnTo>
                <a:close/>
              </a:path>
              <a:path w="4434840" h="4434840">
                <a:moveTo>
                  <a:pt x="489203" y="854963"/>
                </a:moveTo>
                <a:lnTo>
                  <a:pt x="475487" y="845819"/>
                </a:lnTo>
                <a:lnTo>
                  <a:pt x="466343" y="858011"/>
                </a:lnTo>
                <a:lnTo>
                  <a:pt x="478535" y="868679"/>
                </a:lnTo>
                <a:lnTo>
                  <a:pt x="489203" y="854963"/>
                </a:lnTo>
                <a:close/>
              </a:path>
              <a:path w="4434840" h="4434840">
                <a:moveTo>
                  <a:pt x="509015" y="830579"/>
                </a:moveTo>
                <a:lnTo>
                  <a:pt x="495299" y="819911"/>
                </a:lnTo>
                <a:lnTo>
                  <a:pt x="486155" y="833627"/>
                </a:lnTo>
                <a:lnTo>
                  <a:pt x="498347" y="842771"/>
                </a:lnTo>
                <a:lnTo>
                  <a:pt x="509015" y="830579"/>
                </a:lnTo>
                <a:close/>
              </a:path>
              <a:path w="4434840" h="4434840">
                <a:moveTo>
                  <a:pt x="528827" y="806195"/>
                </a:moveTo>
                <a:lnTo>
                  <a:pt x="516635" y="795527"/>
                </a:lnTo>
                <a:lnTo>
                  <a:pt x="507491" y="806195"/>
                </a:lnTo>
                <a:lnTo>
                  <a:pt x="505967" y="807719"/>
                </a:lnTo>
                <a:lnTo>
                  <a:pt x="518159" y="818387"/>
                </a:lnTo>
                <a:lnTo>
                  <a:pt x="519683" y="816863"/>
                </a:lnTo>
                <a:lnTo>
                  <a:pt x="528827" y="806195"/>
                </a:lnTo>
                <a:close/>
              </a:path>
              <a:path w="4434840" h="4434840">
                <a:moveTo>
                  <a:pt x="550163" y="781811"/>
                </a:moveTo>
                <a:lnTo>
                  <a:pt x="537971" y="771143"/>
                </a:lnTo>
                <a:lnTo>
                  <a:pt x="527303" y="783335"/>
                </a:lnTo>
                <a:lnTo>
                  <a:pt x="539495" y="794003"/>
                </a:lnTo>
                <a:lnTo>
                  <a:pt x="550163" y="781811"/>
                </a:lnTo>
                <a:close/>
              </a:path>
              <a:path w="4434840" h="4434840">
                <a:moveTo>
                  <a:pt x="569975" y="757427"/>
                </a:moveTo>
                <a:lnTo>
                  <a:pt x="559307" y="746759"/>
                </a:lnTo>
                <a:lnTo>
                  <a:pt x="548639" y="758951"/>
                </a:lnTo>
                <a:lnTo>
                  <a:pt x="560831" y="769619"/>
                </a:lnTo>
                <a:lnTo>
                  <a:pt x="569975" y="757427"/>
                </a:lnTo>
                <a:close/>
              </a:path>
              <a:path w="4434840" h="4434840">
                <a:moveTo>
                  <a:pt x="591311" y="733043"/>
                </a:moveTo>
                <a:lnTo>
                  <a:pt x="580643" y="722375"/>
                </a:lnTo>
                <a:lnTo>
                  <a:pt x="568451" y="734567"/>
                </a:lnTo>
                <a:lnTo>
                  <a:pt x="580643" y="745235"/>
                </a:lnTo>
                <a:lnTo>
                  <a:pt x="588263" y="736091"/>
                </a:lnTo>
                <a:lnTo>
                  <a:pt x="591311" y="733043"/>
                </a:lnTo>
                <a:close/>
              </a:path>
              <a:path w="4434840" h="4434840">
                <a:moveTo>
                  <a:pt x="614171" y="710183"/>
                </a:moveTo>
                <a:lnTo>
                  <a:pt x="601979" y="699515"/>
                </a:lnTo>
                <a:lnTo>
                  <a:pt x="591311" y="711707"/>
                </a:lnTo>
                <a:lnTo>
                  <a:pt x="601979" y="722375"/>
                </a:lnTo>
                <a:lnTo>
                  <a:pt x="614171" y="710183"/>
                </a:lnTo>
                <a:close/>
              </a:path>
              <a:path w="4434840" h="4434840">
                <a:moveTo>
                  <a:pt x="635507" y="687323"/>
                </a:moveTo>
                <a:lnTo>
                  <a:pt x="624839" y="676655"/>
                </a:lnTo>
                <a:lnTo>
                  <a:pt x="612647" y="687323"/>
                </a:lnTo>
                <a:lnTo>
                  <a:pt x="624839" y="699515"/>
                </a:lnTo>
                <a:lnTo>
                  <a:pt x="635507" y="687323"/>
                </a:lnTo>
                <a:close/>
              </a:path>
              <a:path w="4434840" h="4434840">
                <a:moveTo>
                  <a:pt x="658367" y="664463"/>
                </a:moveTo>
                <a:lnTo>
                  <a:pt x="646175" y="652271"/>
                </a:lnTo>
                <a:lnTo>
                  <a:pt x="635507" y="664463"/>
                </a:lnTo>
                <a:lnTo>
                  <a:pt x="647699" y="675131"/>
                </a:lnTo>
                <a:lnTo>
                  <a:pt x="658367" y="664463"/>
                </a:lnTo>
                <a:close/>
              </a:path>
              <a:path w="4434840" h="4434840">
                <a:moveTo>
                  <a:pt x="681227" y="641603"/>
                </a:moveTo>
                <a:lnTo>
                  <a:pt x="669035" y="630935"/>
                </a:lnTo>
                <a:lnTo>
                  <a:pt x="658367" y="641603"/>
                </a:lnTo>
                <a:lnTo>
                  <a:pt x="669035" y="653795"/>
                </a:lnTo>
                <a:lnTo>
                  <a:pt x="681227" y="641603"/>
                </a:lnTo>
                <a:close/>
              </a:path>
              <a:path w="4434840" h="4434840">
                <a:moveTo>
                  <a:pt x="704087" y="620267"/>
                </a:moveTo>
                <a:lnTo>
                  <a:pt x="693419" y="608075"/>
                </a:lnTo>
                <a:lnTo>
                  <a:pt x="681227" y="618743"/>
                </a:lnTo>
                <a:lnTo>
                  <a:pt x="691895" y="630935"/>
                </a:lnTo>
                <a:lnTo>
                  <a:pt x="704087" y="620267"/>
                </a:lnTo>
                <a:close/>
              </a:path>
              <a:path w="4434840" h="4434840">
                <a:moveTo>
                  <a:pt x="726947" y="597407"/>
                </a:moveTo>
                <a:lnTo>
                  <a:pt x="716279" y="586739"/>
                </a:lnTo>
                <a:lnTo>
                  <a:pt x="704087" y="597407"/>
                </a:lnTo>
                <a:lnTo>
                  <a:pt x="716279" y="608075"/>
                </a:lnTo>
                <a:lnTo>
                  <a:pt x="726947" y="597407"/>
                </a:lnTo>
                <a:close/>
              </a:path>
              <a:path w="4434840" h="4434840">
                <a:moveTo>
                  <a:pt x="751331" y="576071"/>
                </a:moveTo>
                <a:lnTo>
                  <a:pt x="740663" y="563879"/>
                </a:lnTo>
                <a:lnTo>
                  <a:pt x="728471" y="574547"/>
                </a:lnTo>
                <a:lnTo>
                  <a:pt x="739139" y="586739"/>
                </a:lnTo>
                <a:lnTo>
                  <a:pt x="751331" y="576071"/>
                </a:lnTo>
                <a:close/>
              </a:path>
              <a:path w="4434840" h="4434840">
                <a:moveTo>
                  <a:pt x="774191" y="556259"/>
                </a:moveTo>
                <a:lnTo>
                  <a:pt x="765047" y="544067"/>
                </a:lnTo>
                <a:lnTo>
                  <a:pt x="752855" y="553211"/>
                </a:lnTo>
                <a:lnTo>
                  <a:pt x="763523" y="565403"/>
                </a:lnTo>
                <a:lnTo>
                  <a:pt x="774191" y="556259"/>
                </a:lnTo>
                <a:close/>
              </a:path>
              <a:path w="4434840" h="4434840">
                <a:moveTo>
                  <a:pt x="798575" y="534923"/>
                </a:moveTo>
                <a:lnTo>
                  <a:pt x="789431" y="522731"/>
                </a:lnTo>
                <a:lnTo>
                  <a:pt x="777239" y="533399"/>
                </a:lnTo>
                <a:lnTo>
                  <a:pt x="786383" y="545591"/>
                </a:lnTo>
                <a:lnTo>
                  <a:pt x="798575" y="534923"/>
                </a:lnTo>
                <a:close/>
              </a:path>
              <a:path w="4434840" h="4434840">
                <a:moveTo>
                  <a:pt x="822959" y="513587"/>
                </a:moveTo>
                <a:lnTo>
                  <a:pt x="813815" y="501395"/>
                </a:lnTo>
                <a:lnTo>
                  <a:pt x="807719" y="505967"/>
                </a:lnTo>
                <a:lnTo>
                  <a:pt x="800099" y="512063"/>
                </a:lnTo>
                <a:lnTo>
                  <a:pt x="810767" y="524255"/>
                </a:lnTo>
                <a:lnTo>
                  <a:pt x="818387" y="518159"/>
                </a:lnTo>
                <a:lnTo>
                  <a:pt x="822959" y="513587"/>
                </a:lnTo>
                <a:close/>
              </a:path>
              <a:path w="4434840" h="4434840">
                <a:moveTo>
                  <a:pt x="848867" y="493775"/>
                </a:moveTo>
                <a:lnTo>
                  <a:pt x="838199" y="481583"/>
                </a:lnTo>
                <a:lnTo>
                  <a:pt x="826007" y="492251"/>
                </a:lnTo>
                <a:lnTo>
                  <a:pt x="836675" y="504443"/>
                </a:lnTo>
                <a:lnTo>
                  <a:pt x="848867" y="493775"/>
                </a:lnTo>
                <a:close/>
              </a:path>
              <a:path w="4434840" h="4434840">
                <a:moveTo>
                  <a:pt x="873251" y="473963"/>
                </a:moveTo>
                <a:lnTo>
                  <a:pt x="864107" y="461771"/>
                </a:lnTo>
                <a:lnTo>
                  <a:pt x="851915" y="472439"/>
                </a:lnTo>
                <a:lnTo>
                  <a:pt x="861059" y="484631"/>
                </a:lnTo>
                <a:lnTo>
                  <a:pt x="873251" y="473963"/>
                </a:lnTo>
                <a:close/>
              </a:path>
              <a:path w="4434840" h="4434840">
                <a:moveTo>
                  <a:pt x="899159" y="454151"/>
                </a:moveTo>
                <a:lnTo>
                  <a:pt x="888491" y="441959"/>
                </a:lnTo>
                <a:lnTo>
                  <a:pt x="876299" y="451103"/>
                </a:lnTo>
                <a:lnTo>
                  <a:pt x="886967" y="464819"/>
                </a:lnTo>
                <a:lnTo>
                  <a:pt x="899159" y="454151"/>
                </a:lnTo>
                <a:close/>
              </a:path>
              <a:path w="4434840" h="4434840">
                <a:moveTo>
                  <a:pt x="925067" y="435863"/>
                </a:moveTo>
                <a:lnTo>
                  <a:pt x="915923" y="423671"/>
                </a:lnTo>
                <a:lnTo>
                  <a:pt x="902207" y="432815"/>
                </a:lnTo>
                <a:lnTo>
                  <a:pt x="911351" y="445007"/>
                </a:lnTo>
                <a:lnTo>
                  <a:pt x="925067" y="435863"/>
                </a:lnTo>
                <a:close/>
              </a:path>
              <a:path w="4434840" h="4434840">
                <a:moveTo>
                  <a:pt x="950975" y="417575"/>
                </a:moveTo>
                <a:lnTo>
                  <a:pt x="941831" y="403859"/>
                </a:lnTo>
                <a:lnTo>
                  <a:pt x="928115" y="413003"/>
                </a:lnTo>
                <a:lnTo>
                  <a:pt x="937259" y="426719"/>
                </a:lnTo>
                <a:lnTo>
                  <a:pt x="950975" y="417575"/>
                </a:lnTo>
                <a:close/>
              </a:path>
              <a:path w="4434840" h="4434840">
                <a:moveTo>
                  <a:pt x="976883" y="399287"/>
                </a:moveTo>
                <a:lnTo>
                  <a:pt x="967739" y="385571"/>
                </a:lnTo>
                <a:lnTo>
                  <a:pt x="954023" y="394715"/>
                </a:lnTo>
                <a:lnTo>
                  <a:pt x="964691" y="408431"/>
                </a:lnTo>
                <a:lnTo>
                  <a:pt x="976883" y="399287"/>
                </a:lnTo>
                <a:close/>
              </a:path>
              <a:path w="4434840" h="4434840">
                <a:moveTo>
                  <a:pt x="1002791" y="380999"/>
                </a:moveTo>
                <a:lnTo>
                  <a:pt x="995171" y="367283"/>
                </a:lnTo>
                <a:lnTo>
                  <a:pt x="981455" y="376427"/>
                </a:lnTo>
                <a:lnTo>
                  <a:pt x="990599" y="390143"/>
                </a:lnTo>
                <a:lnTo>
                  <a:pt x="1002791" y="380999"/>
                </a:lnTo>
                <a:close/>
              </a:path>
              <a:path w="4434840" h="4434840">
                <a:moveTo>
                  <a:pt x="1030223" y="364235"/>
                </a:moveTo>
                <a:lnTo>
                  <a:pt x="1021079" y="350519"/>
                </a:lnTo>
                <a:lnTo>
                  <a:pt x="1008887" y="359663"/>
                </a:lnTo>
                <a:lnTo>
                  <a:pt x="1016507" y="373379"/>
                </a:lnTo>
                <a:lnTo>
                  <a:pt x="1030223" y="364235"/>
                </a:lnTo>
                <a:close/>
              </a:path>
              <a:path w="4434840" h="4434840">
                <a:moveTo>
                  <a:pt x="1057655" y="347471"/>
                </a:moveTo>
                <a:lnTo>
                  <a:pt x="1048511" y="333755"/>
                </a:lnTo>
                <a:lnTo>
                  <a:pt x="1034795" y="341375"/>
                </a:lnTo>
                <a:lnTo>
                  <a:pt x="1043939" y="355091"/>
                </a:lnTo>
                <a:lnTo>
                  <a:pt x="1057655" y="347471"/>
                </a:lnTo>
                <a:close/>
              </a:path>
              <a:path w="4434840" h="4434840">
                <a:moveTo>
                  <a:pt x="1083563" y="330707"/>
                </a:moveTo>
                <a:lnTo>
                  <a:pt x="1075943" y="315467"/>
                </a:lnTo>
                <a:lnTo>
                  <a:pt x="1068323" y="321563"/>
                </a:lnTo>
                <a:lnTo>
                  <a:pt x="1062227" y="324611"/>
                </a:lnTo>
                <a:lnTo>
                  <a:pt x="1071371" y="338327"/>
                </a:lnTo>
                <a:lnTo>
                  <a:pt x="1075943" y="333755"/>
                </a:lnTo>
                <a:lnTo>
                  <a:pt x="1083563" y="330707"/>
                </a:lnTo>
                <a:close/>
              </a:path>
              <a:path w="4434840" h="4434840">
                <a:moveTo>
                  <a:pt x="1112519" y="313943"/>
                </a:moveTo>
                <a:lnTo>
                  <a:pt x="1103375" y="300227"/>
                </a:lnTo>
                <a:lnTo>
                  <a:pt x="1089659" y="307847"/>
                </a:lnTo>
                <a:lnTo>
                  <a:pt x="1098803" y="321563"/>
                </a:lnTo>
                <a:lnTo>
                  <a:pt x="1112519" y="313943"/>
                </a:lnTo>
                <a:close/>
              </a:path>
              <a:path w="4434840" h="4434840">
                <a:moveTo>
                  <a:pt x="1139951" y="298703"/>
                </a:moveTo>
                <a:lnTo>
                  <a:pt x="1132331" y="283463"/>
                </a:lnTo>
                <a:lnTo>
                  <a:pt x="1118615" y="292607"/>
                </a:lnTo>
                <a:lnTo>
                  <a:pt x="1126235" y="306323"/>
                </a:lnTo>
                <a:lnTo>
                  <a:pt x="1139951" y="298703"/>
                </a:lnTo>
                <a:close/>
              </a:path>
              <a:path w="4434840" h="4434840">
                <a:moveTo>
                  <a:pt x="1167383" y="281939"/>
                </a:moveTo>
                <a:lnTo>
                  <a:pt x="1159763" y="268223"/>
                </a:lnTo>
                <a:lnTo>
                  <a:pt x="1146047" y="275843"/>
                </a:lnTo>
                <a:lnTo>
                  <a:pt x="1153667" y="289559"/>
                </a:lnTo>
                <a:lnTo>
                  <a:pt x="1167383" y="281939"/>
                </a:lnTo>
                <a:close/>
              </a:path>
              <a:path w="4434840" h="4434840">
                <a:moveTo>
                  <a:pt x="1196339" y="268223"/>
                </a:moveTo>
                <a:lnTo>
                  <a:pt x="1188719" y="252983"/>
                </a:lnTo>
                <a:lnTo>
                  <a:pt x="1175003" y="260603"/>
                </a:lnTo>
                <a:lnTo>
                  <a:pt x="1181099" y="274319"/>
                </a:lnTo>
                <a:lnTo>
                  <a:pt x="1196339" y="268223"/>
                </a:lnTo>
                <a:close/>
              </a:path>
              <a:path w="4434840" h="4434840">
                <a:moveTo>
                  <a:pt x="1223771" y="252983"/>
                </a:moveTo>
                <a:lnTo>
                  <a:pt x="1217675" y="239267"/>
                </a:lnTo>
                <a:lnTo>
                  <a:pt x="1202435" y="245363"/>
                </a:lnTo>
                <a:lnTo>
                  <a:pt x="1210055" y="260603"/>
                </a:lnTo>
                <a:lnTo>
                  <a:pt x="1223771" y="252983"/>
                </a:lnTo>
                <a:close/>
              </a:path>
              <a:path w="4434840" h="4434840">
                <a:moveTo>
                  <a:pt x="1252727" y="237743"/>
                </a:moveTo>
                <a:lnTo>
                  <a:pt x="1245107" y="224027"/>
                </a:lnTo>
                <a:lnTo>
                  <a:pt x="1231391" y="231647"/>
                </a:lnTo>
                <a:lnTo>
                  <a:pt x="1239011" y="245363"/>
                </a:lnTo>
                <a:lnTo>
                  <a:pt x="1252727" y="237743"/>
                </a:lnTo>
                <a:close/>
              </a:path>
              <a:path w="4434840" h="4434840">
                <a:moveTo>
                  <a:pt x="1281683" y="224027"/>
                </a:moveTo>
                <a:lnTo>
                  <a:pt x="1275587" y="210311"/>
                </a:lnTo>
                <a:lnTo>
                  <a:pt x="1260347" y="216407"/>
                </a:lnTo>
                <a:lnTo>
                  <a:pt x="1266443" y="231647"/>
                </a:lnTo>
                <a:lnTo>
                  <a:pt x="1281683" y="224027"/>
                </a:lnTo>
                <a:close/>
              </a:path>
              <a:path w="4434840" h="4434840">
                <a:moveTo>
                  <a:pt x="1310639" y="211835"/>
                </a:moveTo>
                <a:lnTo>
                  <a:pt x="1304543" y="196595"/>
                </a:lnTo>
                <a:lnTo>
                  <a:pt x="1289303" y="204215"/>
                </a:lnTo>
                <a:lnTo>
                  <a:pt x="1295399" y="217931"/>
                </a:lnTo>
                <a:lnTo>
                  <a:pt x="1310639" y="211835"/>
                </a:lnTo>
                <a:close/>
              </a:path>
              <a:path w="4434840" h="4434840">
                <a:moveTo>
                  <a:pt x="1339595" y="198119"/>
                </a:moveTo>
                <a:lnTo>
                  <a:pt x="1333499" y="184403"/>
                </a:lnTo>
                <a:lnTo>
                  <a:pt x="1318259" y="190499"/>
                </a:lnTo>
                <a:lnTo>
                  <a:pt x="1325879" y="204215"/>
                </a:lnTo>
                <a:lnTo>
                  <a:pt x="1339595" y="198119"/>
                </a:lnTo>
                <a:close/>
              </a:path>
              <a:path w="4434840" h="4434840">
                <a:moveTo>
                  <a:pt x="1368551" y="185927"/>
                </a:moveTo>
                <a:lnTo>
                  <a:pt x="1362455" y="170687"/>
                </a:lnTo>
                <a:lnTo>
                  <a:pt x="1354835" y="173735"/>
                </a:lnTo>
                <a:lnTo>
                  <a:pt x="1348739" y="176783"/>
                </a:lnTo>
                <a:lnTo>
                  <a:pt x="1354835" y="192023"/>
                </a:lnTo>
                <a:lnTo>
                  <a:pt x="1360931" y="188975"/>
                </a:lnTo>
                <a:lnTo>
                  <a:pt x="1368551" y="185927"/>
                </a:lnTo>
                <a:close/>
              </a:path>
              <a:path w="4434840" h="4434840">
                <a:moveTo>
                  <a:pt x="1399031" y="173735"/>
                </a:moveTo>
                <a:lnTo>
                  <a:pt x="1392935" y="158495"/>
                </a:lnTo>
                <a:lnTo>
                  <a:pt x="1377695" y="164591"/>
                </a:lnTo>
                <a:lnTo>
                  <a:pt x="1383791" y="179831"/>
                </a:lnTo>
                <a:lnTo>
                  <a:pt x="1399031" y="173735"/>
                </a:lnTo>
                <a:close/>
              </a:path>
              <a:path w="4434840" h="4434840">
                <a:moveTo>
                  <a:pt x="1427987" y="161543"/>
                </a:moveTo>
                <a:lnTo>
                  <a:pt x="1423415" y="147827"/>
                </a:lnTo>
                <a:lnTo>
                  <a:pt x="1408175" y="152399"/>
                </a:lnTo>
                <a:lnTo>
                  <a:pt x="1414271" y="167639"/>
                </a:lnTo>
                <a:lnTo>
                  <a:pt x="1427987" y="161543"/>
                </a:lnTo>
                <a:close/>
              </a:path>
              <a:path w="4434840" h="4434840">
                <a:moveTo>
                  <a:pt x="1458467" y="150875"/>
                </a:moveTo>
                <a:lnTo>
                  <a:pt x="1452371" y="135635"/>
                </a:lnTo>
                <a:lnTo>
                  <a:pt x="1437131" y="141731"/>
                </a:lnTo>
                <a:lnTo>
                  <a:pt x="1443227" y="156971"/>
                </a:lnTo>
                <a:lnTo>
                  <a:pt x="1458467" y="150875"/>
                </a:lnTo>
                <a:close/>
              </a:path>
              <a:path w="4434840" h="4434840">
                <a:moveTo>
                  <a:pt x="1488947" y="140207"/>
                </a:moveTo>
                <a:lnTo>
                  <a:pt x="1482851" y="124967"/>
                </a:lnTo>
                <a:lnTo>
                  <a:pt x="1467611" y="129539"/>
                </a:lnTo>
                <a:lnTo>
                  <a:pt x="1473707" y="144779"/>
                </a:lnTo>
                <a:lnTo>
                  <a:pt x="1488947" y="140207"/>
                </a:lnTo>
                <a:close/>
              </a:path>
              <a:path w="4434840" h="4434840">
                <a:moveTo>
                  <a:pt x="1519427" y="129539"/>
                </a:moveTo>
                <a:lnTo>
                  <a:pt x="1513331" y="114299"/>
                </a:lnTo>
                <a:lnTo>
                  <a:pt x="1498091" y="120395"/>
                </a:lnTo>
                <a:lnTo>
                  <a:pt x="1504187" y="135635"/>
                </a:lnTo>
                <a:lnTo>
                  <a:pt x="1519427" y="129539"/>
                </a:lnTo>
                <a:close/>
              </a:path>
              <a:path w="4434840" h="4434840">
                <a:moveTo>
                  <a:pt x="1549907" y="118871"/>
                </a:moveTo>
                <a:lnTo>
                  <a:pt x="1543811" y="103631"/>
                </a:lnTo>
                <a:lnTo>
                  <a:pt x="1528571" y="109727"/>
                </a:lnTo>
                <a:lnTo>
                  <a:pt x="1534667" y="124967"/>
                </a:lnTo>
                <a:lnTo>
                  <a:pt x="1549907" y="118871"/>
                </a:lnTo>
                <a:close/>
              </a:path>
              <a:path w="4434840" h="4434840">
                <a:moveTo>
                  <a:pt x="1578863" y="109727"/>
                </a:moveTo>
                <a:lnTo>
                  <a:pt x="1575815" y="94487"/>
                </a:lnTo>
                <a:lnTo>
                  <a:pt x="1559051" y="99059"/>
                </a:lnTo>
                <a:lnTo>
                  <a:pt x="1563623" y="114299"/>
                </a:lnTo>
                <a:lnTo>
                  <a:pt x="1578863" y="109727"/>
                </a:lnTo>
                <a:close/>
              </a:path>
              <a:path w="4434840" h="4434840">
                <a:moveTo>
                  <a:pt x="1610867" y="102107"/>
                </a:moveTo>
                <a:lnTo>
                  <a:pt x="1606295" y="85343"/>
                </a:lnTo>
                <a:lnTo>
                  <a:pt x="1591055" y="89915"/>
                </a:lnTo>
                <a:lnTo>
                  <a:pt x="1595627" y="105155"/>
                </a:lnTo>
                <a:lnTo>
                  <a:pt x="1610867" y="102107"/>
                </a:lnTo>
                <a:close/>
              </a:path>
              <a:path w="4434840" h="4434840">
                <a:moveTo>
                  <a:pt x="1641347" y="92963"/>
                </a:moveTo>
                <a:lnTo>
                  <a:pt x="1636775" y="77723"/>
                </a:lnTo>
                <a:lnTo>
                  <a:pt x="1621535" y="82295"/>
                </a:lnTo>
                <a:lnTo>
                  <a:pt x="1626107" y="97535"/>
                </a:lnTo>
                <a:lnTo>
                  <a:pt x="1641347" y="92963"/>
                </a:lnTo>
                <a:close/>
              </a:path>
              <a:path w="4434840" h="4434840">
                <a:moveTo>
                  <a:pt x="1671827" y="83819"/>
                </a:moveTo>
                <a:lnTo>
                  <a:pt x="1668779" y="68579"/>
                </a:lnTo>
                <a:lnTo>
                  <a:pt x="1664207" y="70103"/>
                </a:lnTo>
                <a:lnTo>
                  <a:pt x="1652015" y="73151"/>
                </a:lnTo>
                <a:lnTo>
                  <a:pt x="1656587" y="88391"/>
                </a:lnTo>
                <a:lnTo>
                  <a:pt x="1667255" y="85343"/>
                </a:lnTo>
                <a:lnTo>
                  <a:pt x="1671827" y="83819"/>
                </a:lnTo>
                <a:close/>
              </a:path>
              <a:path w="4434840" h="4434840">
                <a:moveTo>
                  <a:pt x="1702307" y="77723"/>
                </a:moveTo>
                <a:lnTo>
                  <a:pt x="1699259" y="60959"/>
                </a:lnTo>
                <a:lnTo>
                  <a:pt x="1684019" y="65531"/>
                </a:lnTo>
                <a:lnTo>
                  <a:pt x="1687067" y="80771"/>
                </a:lnTo>
                <a:lnTo>
                  <a:pt x="1702307" y="77723"/>
                </a:lnTo>
                <a:close/>
              </a:path>
              <a:path w="4434840" h="4434840">
                <a:moveTo>
                  <a:pt x="1734311" y="70103"/>
                </a:moveTo>
                <a:lnTo>
                  <a:pt x="1731263" y="54863"/>
                </a:lnTo>
                <a:lnTo>
                  <a:pt x="1714499" y="57911"/>
                </a:lnTo>
                <a:lnTo>
                  <a:pt x="1719071" y="73151"/>
                </a:lnTo>
                <a:lnTo>
                  <a:pt x="1734311" y="70103"/>
                </a:lnTo>
                <a:close/>
              </a:path>
              <a:path w="4434840" h="4434840">
                <a:moveTo>
                  <a:pt x="1764791" y="62483"/>
                </a:moveTo>
                <a:lnTo>
                  <a:pt x="1761743" y="47243"/>
                </a:lnTo>
                <a:lnTo>
                  <a:pt x="1746503" y="50291"/>
                </a:lnTo>
                <a:lnTo>
                  <a:pt x="1749551" y="65531"/>
                </a:lnTo>
                <a:lnTo>
                  <a:pt x="1764791" y="62483"/>
                </a:lnTo>
                <a:close/>
              </a:path>
              <a:path w="4434840" h="4434840">
                <a:moveTo>
                  <a:pt x="1796795" y="56387"/>
                </a:moveTo>
                <a:lnTo>
                  <a:pt x="1793747" y="41147"/>
                </a:lnTo>
                <a:lnTo>
                  <a:pt x="1778507" y="44195"/>
                </a:lnTo>
                <a:lnTo>
                  <a:pt x="1780031" y="59435"/>
                </a:lnTo>
                <a:lnTo>
                  <a:pt x="1796795" y="56387"/>
                </a:lnTo>
                <a:close/>
              </a:path>
              <a:path w="4434840" h="4434840">
                <a:moveTo>
                  <a:pt x="1828799" y="50291"/>
                </a:moveTo>
                <a:lnTo>
                  <a:pt x="1825751" y="35051"/>
                </a:lnTo>
                <a:lnTo>
                  <a:pt x="1808987" y="38099"/>
                </a:lnTo>
                <a:lnTo>
                  <a:pt x="1812035" y="53339"/>
                </a:lnTo>
                <a:lnTo>
                  <a:pt x="1828799" y="50291"/>
                </a:lnTo>
                <a:close/>
              </a:path>
              <a:path w="4434840" h="4434840">
                <a:moveTo>
                  <a:pt x="1859279" y="45719"/>
                </a:moveTo>
                <a:lnTo>
                  <a:pt x="1856231" y="28955"/>
                </a:lnTo>
                <a:lnTo>
                  <a:pt x="1840991" y="32003"/>
                </a:lnTo>
                <a:lnTo>
                  <a:pt x="1844039" y="48767"/>
                </a:lnTo>
                <a:lnTo>
                  <a:pt x="1859279" y="45719"/>
                </a:lnTo>
                <a:close/>
              </a:path>
              <a:path w="4434840" h="4434840">
                <a:moveTo>
                  <a:pt x="1891283" y="39623"/>
                </a:moveTo>
                <a:lnTo>
                  <a:pt x="1888235" y="24383"/>
                </a:lnTo>
                <a:lnTo>
                  <a:pt x="1880615" y="25907"/>
                </a:lnTo>
                <a:lnTo>
                  <a:pt x="1872995" y="25907"/>
                </a:lnTo>
                <a:lnTo>
                  <a:pt x="1876043" y="42671"/>
                </a:lnTo>
                <a:lnTo>
                  <a:pt x="1882139" y="41147"/>
                </a:lnTo>
                <a:lnTo>
                  <a:pt x="1891283" y="39623"/>
                </a:lnTo>
                <a:close/>
              </a:path>
              <a:path w="4434840" h="4434840">
                <a:moveTo>
                  <a:pt x="1923287" y="36575"/>
                </a:moveTo>
                <a:lnTo>
                  <a:pt x="1920239" y="19811"/>
                </a:lnTo>
                <a:lnTo>
                  <a:pt x="1904999" y="22859"/>
                </a:lnTo>
                <a:lnTo>
                  <a:pt x="1906523" y="38099"/>
                </a:lnTo>
                <a:lnTo>
                  <a:pt x="1923287" y="36575"/>
                </a:lnTo>
                <a:close/>
              </a:path>
              <a:path w="4434840" h="4434840">
                <a:moveTo>
                  <a:pt x="1955291" y="32003"/>
                </a:moveTo>
                <a:lnTo>
                  <a:pt x="1952243" y="16763"/>
                </a:lnTo>
                <a:lnTo>
                  <a:pt x="1937003" y="18287"/>
                </a:lnTo>
                <a:lnTo>
                  <a:pt x="1938527" y="33527"/>
                </a:lnTo>
                <a:lnTo>
                  <a:pt x="1955291" y="32003"/>
                </a:lnTo>
                <a:close/>
              </a:path>
              <a:path w="4434840" h="4434840">
                <a:moveTo>
                  <a:pt x="1985771" y="27431"/>
                </a:moveTo>
                <a:lnTo>
                  <a:pt x="1984247" y="12191"/>
                </a:lnTo>
                <a:lnTo>
                  <a:pt x="1969007" y="13715"/>
                </a:lnTo>
                <a:lnTo>
                  <a:pt x="1970531" y="30479"/>
                </a:lnTo>
                <a:lnTo>
                  <a:pt x="1985771" y="27431"/>
                </a:lnTo>
                <a:close/>
              </a:path>
              <a:path w="4434840" h="4434840">
                <a:moveTo>
                  <a:pt x="2017775" y="25907"/>
                </a:moveTo>
                <a:lnTo>
                  <a:pt x="2016251" y="9143"/>
                </a:lnTo>
                <a:lnTo>
                  <a:pt x="2001011" y="10667"/>
                </a:lnTo>
                <a:lnTo>
                  <a:pt x="2002535" y="25907"/>
                </a:lnTo>
                <a:lnTo>
                  <a:pt x="2017775" y="25907"/>
                </a:lnTo>
                <a:close/>
              </a:path>
              <a:path w="4434840" h="4434840">
                <a:moveTo>
                  <a:pt x="2049779" y="22859"/>
                </a:moveTo>
                <a:lnTo>
                  <a:pt x="2048255" y="6095"/>
                </a:lnTo>
                <a:lnTo>
                  <a:pt x="2033015" y="7619"/>
                </a:lnTo>
                <a:lnTo>
                  <a:pt x="2034539" y="24383"/>
                </a:lnTo>
                <a:lnTo>
                  <a:pt x="2049779" y="22859"/>
                </a:lnTo>
                <a:close/>
              </a:path>
              <a:path w="4434840" h="4434840">
                <a:moveTo>
                  <a:pt x="2081783" y="19811"/>
                </a:moveTo>
                <a:lnTo>
                  <a:pt x="2080259" y="4571"/>
                </a:lnTo>
                <a:lnTo>
                  <a:pt x="2065019" y="6095"/>
                </a:lnTo>
                <a:lnTo>
                  <a:pt x="2066543" y="21335"/>
                </a:lnTo>
                <a:lnTo>
                  <a:pt x="2081783" y="19811"/>
                </a:lnTo>
                <a:close/>
              </a:path>
              <a:path w="4434840" h="4434840">
                <a:moveTo>
                  <a:pt x="2113787" y="18287"/>
                </a:moveTo>
                <a:lnTo>
                  <a:pt x="2113787" y="3047"/>
                </a:lnTo>
                <a:lnTo>
                  <a:pt x="2097023" y="3047"/>
                </a:lnTo>
                <a:lnTo>
                  <a:pt x="2098547" y="19811"/>
                </a:lnTo>
                <a:lnTo>
                  <a:pt x="2104643" y="18287"/>
                </a:lnTo>
                <a:lnTo>
                  <a:pt x="2113787" y="18287"/>
                </a:lnTo>
                <a:close/>
              </a:path>
              <a:path w="4434840" h="4434840">
                <a:moveTo>
                  <a:pt x="2145791" y="18287"/>
                </a:moveTo>
                <a:lnTo>
                  <a:pt x="2145791" y="1523"/>
                </a:lnTo>
                <a:lnTo>
                  <a:pt x="2129027" y="1523"/>
                </a:lnTo>
                <a:lnTo>
                  <a:pt x="2129027" y="18287"/>
                </a:lnTo>
                <a:lnTo>
                  <a:pt x="2145791" y="18287"/>
                </a:lnTo>
                <a:close/>
              </a:path>
              <a:path w="4434840" h="4434840">
                <a:moveTo>
                  <a:pt x="2177795" y="16763"/>
                </a:moveTo>
                <a:lnTo>
                  <a:pt x="2177795" y="1523"/>
                </a:lnTo>
                <a:lnTo>
                  <a:pt x="2161031" y="1523"/>
                </a:lnTo>
                <a:lnTo>
                  <a:pt x="2161031" y="16763"/>
                </a:lnTo>
                <a:lnTo>
                  <a:pt x="2177795" y="16763"/>
                </a:lnTo>
                <a:close/>
              </a:path>
              <a:path w="4434840" h="4434840">
                <a:moveTo>
                  <a:pt x="2209799" y="16763"/>
                </a:moveTo>
                <a:lnTo>
                  <a:pt x="2209799" y="0"/>
                </a:lnTo>
                <a:lnTo>
                  <a:pt x="2193035" y="0"/>
                </a:lnTo>
                <a:lnTo>
                  <a:pt x="2193035" y="16763"/>
                </a:lnTo>
                <a:lnTo>
                  <a:pt x="2209799" y="16763"/>
                </a:lnTo>
                <a:close/>
              </a:path>
              <a:path w="4434840" h="4434840">
                <a:moveTo>
                  <a:pt x="2241803" y="16763"/>
                </a:moveTo>
                <a:lnTo>
                  <a:pt x="2241803" y="0"/>
                </a:lnTo>
                <a:lnTo>
                  <a:pt x="2225039" y="0"/>
                </a:lnTo>
                <a:lnTo>
                  <a:pt x="2225039" y="15239"/>
                </a:lnTo>
                <a:lnTo>
                  <a:pt x="2241803" y="16763"/>
                </a:lnTo>
                <a:close/>
              </a:path>
              <a:path w="4434840" h="4434840">
                <a:moveTo>
                  <a:pt x="2273807" y="16763"/>
                </a:moveTo>
                <a:lnTo>
                  <a:pt x="2273807" y="1523"/>
                </a:lnTo>
                <a:lnTo>
                  <a:pt x="2257043" y="1523"/>
                </a:lnTo>
                <a:lnTo>
                  <a:pt x="2257043" y="16763"/>
                </a:lnTo>
                <a:lnTo>
                  <a:pt x="2273807" y="16763"/>
                </a:lnTo>
                <a:close/>
              </a:path>
              <a:path w="4434840" h="4434840">
                <a:moveTo>
                  <a:pt x="2305811" y="18287"/>
                </a:moveTo>
                <a:lnTo>
                  <a:pt x="2305811" y="1523"/>
                </a:lnTo>
                <a:lnTo>
                  <a:pt x="2290571" y="1523"/>
                </a:lnTo>
                <a:lnTo>
                  <a:pt x="2289047" y="18287"/>
                </a:lnTo>
                <a:lnTo>
                  <a:pt x="2305811" y="18287"/>
                </a:lnTo>
                <a:close/>
              </a:path>
              <a:path w="4434840" h="4434840">
                <a:moveTo>
                  <a:pt x="2337815" y="19811"/>
                </a:moveTo>
                <a:lnTo>
                  <a:pt x="2337815" y="3047"/>
                </a:lnTo>
                <a:lnTo>
                  <a:pt x="2322575" y="3047"/>
                </a:lnTo>
                <a:lnTo>
                  <a:pt x="2321051" y="18287"/>
                </a:lnTo>
                <a:lnTo>
                  <a:pt x="2331719" y="18287"/>
                </a:lnTo>
                <a:lnTo>
                  <a:pt x="2337815" y="19811"/>
                </a:lnTo>
                <a:close/>
              </a:path>
              <a:path w="4434840" h="4434840">
                <a:moveTo>
                  <a:pt x="2369819" y="21335"/>
                </a:moveTo>
                <a:lnTo>
                  <a:pt x="2369819" y="6095"/>
                </a:lnTo>
                <a:lnTo>
                  <a:pt x="2354579" y="4571"/>
                </a:lnTo>
                <a:lnTo>
                  <a:pt x="2353055" y="19811"/>
                </a:lnTo>
                <a:lnTo>
                  <a:pt x="2369819" y="21335"/>
                </a:lnTo>
                <a:close/>
              </a:path>
              <a:path w="4434840" h="4434840">
                <a:moveTo>
                  <a:pt x="2401823" y="7619"/>
                </a:moveTo>
                <a:lnTo>
                  <a:pt x="2386583" y="6095"/>
                </a:lnTo>
                <a:lnTo>
                  <a:pt x="2385059" y="22859"/>
                </a:lnTo>
                <a:lnTo>
                  <a:pt x="2400299" y="24383"/>
                </a:lnTo>
                <a:lnTo>
                  <a:pt x="2401823" y="7619"/>
                </a:lnTo>
                <a:close/>
              </a:path>
              <a:path w="4434840" h="4434840">
                <a:moveTo>
                  <a:pt x="2433827" y="10667"/>
                </a:moveTo>
                <a:lnTo>
                  <a:pt x="2418587" y="9143"/>
                </a:lnTo>
                <a:lnTo>
                  <a:pt x="2417063" y="25907"/>
                </a:lnTo>
                <a:lnTo>
                  <a:pt x="2432303" y="25907"/>
                </a:lnTo>
                <a:lnTo>
                  <a:pt x="2433827" y="10667"/>
                </a:lnTo>
                <a:close/>
              </a:path>
              <a:path w="4434840" h="4434840">
                <a:moveTo>
                  <a:pt x="2465831" y="13715"/>
                </a:moveTo>
                <a:lnTo>
                  <a:pt x="2450591" y="12191"/>
                </a:lnTo>
                <a:lnTo>
                  <a:pt x="2449067" y="27431"/>
                </a:lnTo>
                <a:lnTo>
                  <a:pt x="2464307" y="30479"/>
                </a:lnTo>
                <a:lnTo>
                  <a:pt x="2465831" y="13715"/>
                </a:lnTo>
                <a:close/>
              </a:path>
              <a:path w="4434840" h="4434840">
                <a:moveTo>
                  <a:pt x="2497835" y="18287"/>
                </a:moveTo>
                <a:lnTo>
                  <a:pt x="2482595" y="16763"/>
                </a:lnTo>
                <a:lnTo>
                  <a:pt x="2481071" y="32003"/>
                </a:lnTo>
                <a:lnTo>
                  <a:pt x="2496311" y="33527"/>
                </a:lnTo>
                <a:lnTo>
                  <a:pt x="2497835" y="18287"/>
                </a:lnTo>
                <a:close/>
              </a:path>
              <a:path w="4434840" h="4434840">
                <a:moveTo>
                  <a:pt x="2529839" y="21335"/>
                </a:moveTo>
                <a:lnTo>
                  <a:pt x="2514599" y="19811"/>
                </a:lnTo>
                <a:lnTo>
                  <a:pt x="2511551" y="36575"/>
                </a:lnTo>
                <a:lnTo>
                  <a:pt x="2528315" y="38099"/>
                </a:lnTo>
                <a:lnTo>
                  <a:pt x="2529839" y="21335"/>
                </a:lnTo>
                <a:close/>
              </a:path>
              <a:path w="4434840" h="4434840">
                <a:moveTo>
                  <a:pt x="2561843" y="25907"/>
                </a:moveTo>
                <a:lnTo>
                  <a:pt x="2555747" y="25907"/>
                </a:lnTo>
                <a:lnTo>
                  <a:pt x="2546603" y="24383"/>
                </a:lnTo>
                <a:lnTo>
                  <a:pt x="2543555" y="39623"/>
                </a:lnTo>
                <a:lnTo>
                  <a:pt x="2552699" y="41147"/>
                </a:lnTo>
                <a:lnTo>
                  <a:pt x="2558795" y="42671"/>
                </a:lnTo>
                <a:lnTo>
                  <a:pt x="2561843" y="25907"/>
                </a:lnTo>
                <a:close/>
              </a:path>
              <a:path w="4434840" h="4434840">
                <a:moveTo>
                  <a:pt x="2593847" y="32003"/>
                </a:moveTo>
                <a:lnTo>
                  <a:pt x="2578607" y="28955"/>
                </a:lnTo>
                <a:lnTo>
                  <a:pt x="2575559" y="45719"/>
                </a:lnTo>
                <a:lnTo>
                  <a:pt x="2590799" y="47243"/>
                </a:lnTo>
                <a:lnTo>
                  <a:pt x="2593847" y="32003"/>
                </a:lnTo>
                <a:close/>
              </a:path>
              <a:path w="4434840" h="4434840">
                <a:moveTo>
                  <a:pt x="2625851" y="38099"/>
                </a:moveTo>
                <a:lnTo>
                  <a:pt x="2609087" y="35051"/>
                </a:lnTo>
                <a:lnTo>
                  <a:pt x="2607563" y="50291"/>
                </a:lnTo>
                <a:lnTo>
                  <a:pt x="2622803" y="53339"/>
                </a:lnTo>
                <a:lnTo>
                  <a:pt x="2625851" y="38099"/>
                </a:lnTo>
                <a:close/>
              </a:path>
              <a:path w="4434840" h="4434840">
                <a:moveTo>
                  <a:pt x="2656331" y="42671"/>
                </a:moveTo>
                <a:lnTo>
                  <a:pt x="2641091" y="41147"/>
                </a:lnTo>
                <a:lnTo>
                  <a:pt x="2638043" y="56387"/>
                </a:lnTo>
                <a:lnTo>
                  <a:pt x="2654807" y="59435"/>
                </a:lnTo>
                <a:lnTo>
                  <a:pt x="2656331" y="42671"/>
                </a:lnTo>
                <a:close/>
              </a:path>
              <a:path w="4434840" h="4434840">
                <a:moveTo>
                  <a:pt x="2688335" y="50291"/>
                </a:moveTo>
                <a:lnTo>
                  <a:pt x="2673095" y="47243"/>
                </a:lnTo>
                <a:lnTo>
                  <a:pt x="2670047" y="62483"/>
                </a:lnTo>
                <a:lnTo>
                  <a:pt x="2685287" y="65531"/>
                </a:lnTo>
                <a:lnTo>
                  <a:pt x="2688335" y="50291"/>
                </a:lnTo>
                <a:close/>
              </a:path>
              <a:path w="4434840" h="4434840">
                <a:moveTo>
                  <a:pt x="2720339" y="57911"/>
                </a:moveTo>
                <a:lnTo>
                  <a:pt x="2705099" y="53339"/>
                </a:lnTo>
                <a:lnTo>
                  <a:pt x="2700527" y="70103"/>
                </a:lnTo>
                <a:lnTo>
                  <a:pt x="2715767" y="73151"/>
                </a:lnTo>
                <a:lnTo>
                  <a:pt x="2720339" y="57911"/>
                </a:lnTo>
                <a:close/>
              </a:path>
              <a:path w="4434840" h="4434840">
                <a:moveTo>
                  <a:pt x="2750819" y="64007"/>
                </a:moveTo>
                <a:lnTo>
                  <a:pt x="2735579" y="60959"/>
                </a:lnTo>
                <a:lnTo>
                  <a:pt x="2732531" y="76199"/>
                </a:lnTo>
                <a:lnTo>
                  <a:pt x="2747771" y="80771"/>
                </a:lnTo>
                <a:lnTo>
                  <a:pt x="2750819" y="64007"/>
                </a:lnTo>
                <a:close/>
              </a:path>
              <a:path w="4434840" h="4434840">
                <a:moveTo>
                  <a:pt x="2782823" y="73151"/>
                </a:moveTo>
                <a:lnTo>
                  <a:pt x="2772155" y="70103"/>
                </a:lnTo>
                <a:lnTo>
                  <a:pt x="2767583" y="68579"/>
                </a:lnTo>
                <a:lnTo>
                  <a:pt x="2763011" y="83819"/>
                </a:lnTo>
                <a:lnTo>
                  <a:pt x="2767583" y="85343"/>
                </a:lnTo>
                <a:lnTo>
                  <a:pt x="2778251" y="88391"/>
                </a:lnTo>
                <a:lnTo>
                  <a:pt x="2782823" y="73151"/>
                </a:lnTo>
                <a:close/>
              </a:path>
              <a:path w="4434840" h="4434840">
                <a:moveTo>
                  <a:pt x="2813303" y="80771"/>
                </a:moveTo>
                <a:lnTo>
                  <a:pt x="2798063" y="77723"/>
                </a:lnTo>
                <a:lnTo>
                  <a:pt x="2793491" y="92963"/>
                </a:lnTo>
                <a:lnTo>
                  <a:pt x="2808731" y="97535"/>
                </a:lnTo>
                <a:lnTo>
                  <a:pt x="2813303" y="80771"/>
                </a:lnTo>
                <a:close/>
              </a:path>
              <a:path w="4434840" h="4434840">
                <a:moveTo>
                  <a:pt x="2843783" y="89915"/>
                </a:moveTo>
                <a:lnTo>
                  <a:pt x="2828543" y="85343"/>
                </a:lnTo>
                <a:lnTo>
                  <a:pt x="2823971" y="100583"/>
                </a:lnTo>
                <a:lnTo>
                  <a:pt x="2840735" y="105155"/>
                </a:lnTo>
                <a:lnTo>
                  <a:pt x="2843783" y="89915"/>
                </a:lnTo>
                <a:close/>
              </a:path>
              <a:path w="4434840" h="4434840">
                <a:moveTo>
                  <a:pt x="2875787" y="99059"/>
                </a:moveTo>
                <a:lnTo>
                  <a:pt x="2860547" y="94487"/>
                </a:lnTo>
                <a:lnTo>
                  <a:pt x="2855975" y="109727"/>
                </a:lnTo>
                <a:lnTo>
                  <a:pt x="2871215" y="114299"/>
                </a:lnTo>
                <a:lnTo>
                  <a:pt x="2875787" y="99059"/>
                </a:lnTo>
                <a:close/>
              </a:path>
              <a:path w="4434840" h="4434840">
                <a:moveTo>
                  <a:pt x="2906267" y="109727"/>
                </a:moveTo>
                <a:lnTo>
                  <a:pt x="2891027" y="103631"/>
                </a:lnTo>
                <a:lnTo>
                  <a:pt x="2886455" y="118871"/>
                </a:lnTo>
                <a:lnTo>
                  <a:pt x="2901695" y="124967"/>
                </a:lnTo>
                <a:lnTo>
                  <a:pt x="2906267" y="109727"/>
                </a:lnTo>
                <a:close/>
              </a:path>
              <a:path w="4434840" h="4434840">
                <a:moveTo>
                  <a:pt x="2936747" y="118871"/>
                </a:moveTo>
                <a:lnTo>
                  <a:pt x="2921507" y="114299"/>
                </a:lnTo>
                <a:lnTo>
                  <a:pt x="2915411" y="129539"/>
                </a:lnTo>
                <a:lnTo>
                  <a:pt x="2930651" y="134111"/>
                </a:lnTo>
                <a:lnTo>
                  <a:pt x="2936747" y="118871"/>
                </a:lnTo>
                <a:close/>
              </a:path>
              <a:path w="4434840" h="4434840">
                <a:moveTo>
                  <a:pt x="2967227" y="129539"/>
                </a:moveTo>
                <a:lnTo>
                  <a:pt x="2951987" y="124967"/>
                </a:lnTo>
                <a:lnTo>
                  <a:pt x="2945891" y="140207"/>
                </a:lnTo>
                <a:lnTo>
                  <a:pt x="2961131" y="144779"/>
                </a:lnTo>
                <a:lnTo>
                  <a:pt x="2967227" y="129539"/>
                </a:lnTo>
                <a:close/>
              </a:path>
              <a:path w="4434840" h="4434840">
                <a:moveTo>
                  <a:pt x="2997707" y="141731"/>
                </a:moveTo>
                <a:lnTo>
                  <a:pt x="2982467" y="135635"/>
                </a:lnTo>
                <a:lnTo>
                  <a:pt x="2976371" y="149351"/>
                </a:lnTo>
                <a:lnTo>
                  <a:pt x="2991611" y="155447"/>
                </a:lnTo>
                <a:lnTo>
                  <a:pt x="2997707" y="141731"/>
                </a:lnTo>
                <a:close/>
              </a:path>
              <a:path w="4434840" h="4434840">
                <a:moveTo>
                  <a:pt x="3026663" y="152399"/>
                </a:moveTo>
                <a:lnTo>
                  <a:pt x="3012947" y="146303"/>
                </a:lnTo>
                <a:lnTo>
                  <a:pt x="3006851" y="161543"/>
                </a:lnTo>
                <a:lnTo>
                  <a:pt x="3020567" y="167639"/>
                </a:lnTo>
                <a:lnTo>
                  <a:pt x="3026663" y="152399"/>
                </a:lnTo>
                <a:close/>
              </a:path>
              <a:path w="4434840" h="4434840">
                <a:moveTo>
                  <a:pt x="3057143" y="164591"/>
                </a:moveTo>
                <a:lnTo>
                  <a:pt x="3041903" y="158495"/>
                </a:lnTo>
                <a:lnTo>
                  <a:pt x="3035807" y="173735"/>
                </a:lnTo>
                <a:lnTo>
                  <a:pt x="3051047" y="179831"/>
                </a:lnTo>
                <a:lnTo>
                  <a:pt x="3057143" y="164591"/>
                </a:lnTo>
                <a:close/>
              </a:path>
              <a:path w="4434840" h="4434840">
                <a:moveTo>
                  <a:pt x="3087623" y="176783"/>
                </a:moveTo>
                <a:lnTo>
                  <a:pt x="3081527" y="173735"/>
                </a:lnTo>
                <a:lnTo>
                  <a:pt x="3072383" y="170687"/>
                </a:lnTo>
                <a:lnTo>
                  <a:pt x="3066287" y="185927"/>
                </a:lnTo>
                <a:lnTo>
                  <a:pt x="3075431" y="188975"/>
                </a:lnTo>
                <a:lnTo>
                  <a:pt x="3080003" y="192023"/>
                </a:lnTo>
                <a:lnTo>
                  <a:pt x="3087623" y="176783"/>
                </a:lnTo>
                <a:close/>
              </a:path>
              <a:path w="4434840" h="4434840">
                <a:moveTo>
                  <a:pt x="3116579" y="190499"/>
                </a:moveTo>
                <a:lnTo>
                  <a:pt x="3101339" y="182879"/>
                </a:lnTo>
                <a:lnTo>
                  <a:pt x="3095243" y="198119"/>
                </a:lnTo>
                <a:lnTo>
                  <a:pt x="3108959" y="204215"/>
                </a:lnTo>
                <a:lnTo>
                  <a:pt x="3116579" y="190499"/>
                </a:lnTo>
                <a:close/>
              </a:path>
              <a:path w="4434840" h="4434840">
                <a:moveTo>
                  <a:pt x="3145535" y="202691"/>
                </a:moveTo>
                <a:lnTo>
                  <a:pt x="3130295" y="196595"/>
                </a:lnTo>
                <a:lnTo>
                  <a:pt x="3124199" y="211835"/>
                </a:lnTo>
                <a:lnTo>
                  <a:pt x="3139439" y="217931"/>
                </a:lnTo>
                <a:lnTo>
                  <a:pt x="3145535" y="202691"/>
                </a:lnTo>
                <a:close/>
              </a:path>
              <a:path w="4434840" h="4434840">
                <a:moveTo>
                  <a:pt x="3174491" y="216407"/>
                </a:moveTo>
                <a:lnTo>
                  <a:pt x="3160775" y="210311"/>
                </a:lnTo>
                <a:lnTo>
                  <a:pt x="3153155" y="224027"/>
                </a:lnTo>
                <a:lnTo>
                  <a:pt x="3168395" y="231647"/>
                </a:lnTo>
                <a:lnTo>
                  <a:pt x="3174491" y="216407"/>
                </a:lnTo>
                <a:close/>
              </a:path>
              <a:path w="4434840" h="4434840">
                <a:moveTo>
                  <a:pt x="3203447" y="231647"/>
                </a:moveTo>
                <a:lnTo>
                  <a:pt x="3189731" y="224027"/>
                </a:lnTo>
                <a:lnTo>
                  <a:pt x="3182111" y="237743"/>
                </a:lnTo>
                <a:lnTo>
                  <a:pt x="3195827" y="245363"/>
                </a:lnTo>
                <a:lnTo>
                  <a:pt x="3203447" y="231647"/>
                </a:lnTo>
                <a:close/>
              </a:path>
              <a:path w="4434840" h="4434840">
                <a:moveTo>
                  <a:pt x="3232403" y="245363"/>
                </a:moveTo>
                <a:lnTo>
                  <a:pt x="3218687" y="237743"/>
                </a:lnTo>
                <a:lnTo>
                  <a:pt x="3211067" y="252983"/>
                </a:lnTo>
                <a:lnTo>
                  <a:pt x="3224783" y="259079"/>
                </a:lnTo>
                <a:lnTo>
                  <a:pt x="3232403" y="245363"/>
                </a:lnTo>
                <a:close/>
              </a:path>
              <a:path w="4434840" h="4434840">
                <a:moveTo>
                  <a:pt x="3261359" y="260603"/>
                </a:moveTo>
                <a:lnTo>
                  <a:pt x="3246119" y="252983"/>
                </a:lnTo>
                <a:lnTo>
                  <a:pt x="3238499" y="266699"/>
                </a:lnTo>
                <a:lnTo>
                  <a:pt x="3253739" y="274319"/>
                </a:lnTo>
                <a:lnTo>
                  <a:pt x="3261359" y="260603"/>
                </a:lnTo>
                <a:close/>
              </a:path>
              <a:path w="4434840" h="4434840">
                <a:moveTo>
                  <a:pt x="3288791" y="275843"/>
                </a:moveTo>
                <a:lnTo>
                  <a:pt x="3275075" y="268223"/>
                </a:lnTo>
                <a:lnTo>
                  <a:pt x="3267455" y="281939"/>
                </a:lnTo>
                <a:lnTo>
                  <a:pt x="3281171" y="289559"/>
                </a:lnTo>
                <a:lnTo>
                  <a:pt x="3288791" y="275843"/>
                </a:lnTo>
                <a:close/>
              </a:path>
              <a:path w="4434840" h="4434840">
                <a:moveTo>
                  <a:pt x="3317747" y="291083"/>
                </a:moveTo>
                <a:lnTo>
                  <a:pt x="3302507" y="283463"/>
                </a:lnTo>
                <a:lnTo>
                  <a:pt x="3294887" y="297179"/>
                </a:lnTo>
                <a:lnTo>
                  <a:pt x="3308603" y="306323"/>
                </a:lnTo>
                <a:lnTo>
                  <a:pt x="3317747" y="291083"/>
                </a:lnTo>
                <a:close/>
              </a:path>
              <a:path w="4434840" h="4434840">
                <a:moveTo>
                  <a:pt x="3345179" y="307847"/>
                </a:moveTo>
                <a:lnTo>
                  <a:pt x="3331463" y="300227"/>
                </a:lnTo>
                <a:lnTo>
                  <a:pt x="3322319" y="313943"/>
                </a:lnTo>
                <a:lnTo>
                  <a:pt x="3337559" y="321563"/>
                </a:lnTo>
                <a:lnTo>
                  <a:pt x="3345179" y="307847"/>
                </a:lnTo>
                <a:close/>
              </a:path>
              <a:path w="4434840" h="4434840">
                <a:moveTo>
                  <a:pt x="3372611" y="324611"/>
                </a:moveTo>
                <a:lnTo>
                  <a:pt x="3368039" y="320039"/>
                </a:lnTo>
                <a:lnTo>
                  <a:pt x="3358895" y="315467"/>
                </a:lnTo>
                <a:lnTo>
                  <a:pt x="3351275" y="329183"/>
                </a:lnTo>
                <a:lnTo>
                  <a:pt x="3358895" y="335279"/>
                </a:lnTo>
                <a:lnTo>
                  <a:pt x="3364991" y="338327"/>
                </a:lnTo>
                <a:lnTo>
                  <a:pt x="3372611" y="324611"/>
                </a:lnTo>
                <a:close/>
              </a:path>
              <a:path w="4434840" h="4434840">
                <a:moveTo>
                  <a:pt x="3400043" y="341375"/>
                </a:moveTo>
                <a:lnTo>
                  <a:pt x="3386327" y="332231"/>
                </a:lnTo>
                <a:lnTo>
                  <a:pt x="3377183" y="345947"/>
                </a:lnTo>
                <a:lnTo>
                  <a:pt x="3390899" y="355091"/>
                </a:lnTo>
                <a:lnTo>
                  <a:pt x="3400043" y="341375"/>
                </a:lnTo>
                <a:close/>
              </a:path>
              <a:path w="4434840" h="4434840">
                <a:moveTo>
                  <a:pt x="3427475" y="358139"/>
                </a:moveTo>
                <a:lnTo>
                  <a:pt x="3413759" y="350519"/>
                </a:lnTo>
                <a:lnTo>
                  <a:pt x="3404615" y="364235"/>
                </a:lnTo>
                <a:lnTo>
                  <a:pt x="3418331" y="371855"/>
                </a:lnTo>
                <a:lnTo>
                  <a:pt x="3427475" y="358139"/>
                </a:lnTo>
                <a:close/>
              </a:path>
              <a:path w="4434840" h="4434840">
                <a:moveTo>
                  <a:pt x="3453383" y="376427"/>
                </a:moveTo>
                <a:lnTo>
                  <a:pt x="3439667" y="367283"/>
                </a:lnTo>
                <a:lnTo>
                  <a:pt x="3432047" y="380999"/>
                </a:lnTo>
                <a:lnTo>
                  <a:pt x="3445763" y="390143"/>
                </a:lnTo>
                <a:lnTo>
                  <a:pt x="3453383" y="376427"/>
                </a:lnTo>
                <a:close/>
              </a:path>
              <a:path w="4434840" h="4434840">
                <a:moveTo>
                  <a:pt x="3480815" y="394715"/>
                </a:moveTo>
                <a:lnTo>
                  <a:pt x="3467099" y="385571"/>
                </a:lnTo>
                <a:lnTo>
                  <a:pt x="3457955" y="397763"/>
                </a:lnTo>
                <a:lnTo>
                  <a:pt x="3471671" y="408431"/>
                </a:lnTo>
                <a:lnTo>
                  <a:pt x="3480815" y="394715"/>
                </a:lnTo>
                <a:close/>
              </a:path>
              <a:path w="4434840" h="4434840">
                <a:moveTo>
                  <a:pt x="3506723" y="413003"/>
                </a:moveTo>
                <a:lnTo>
                  <a:pt x="3493007" y="403859"/>
                </a:lnTo>
                <a:lnTo>
                  <a:pt x="3483863" y="417575"/>
                </a:lnTo>
                <a:lnTo>
                  <a:pt x="3497579" y="426719"/>
                </a:lnTo>
                <a:lnTo>
                  <a:pt x="3506723" y="413003"/>
                </a:lnTo>
                <a:close/>
              </a:path>
              <a:path w="4434840" h="4434840">
                <a:moveTo>
                  <a:pt x="3532631" y="431291"/>
                </a:moveTo>
                <a:lnTo>
                  <a:pt x="3520439" y="422147"/>
                </a:lnTo>
                <a:lnTo>
                  <a:pt x="3509771" y="435863"/>
                </a:lnTo>
                <a:lnTo>
                  <a:pt x="3523487" y="445007"/>
                </a:lnTo>
                <a:lnTo>
                  <a:pt x="3532631" y="431291"/>
                </a:lnTo>
                <a:close/>
              </a:path>
              <a:path w="4434840" h="4434840">
                <a:moveTo>
                  <a:pt x="3558539" y="451103"/>
                </a:moveTo>
                <a:lnTo>
                  <a:pt x="3546347" y="441959"/>
                </a:lnTo>
                <a:lnTo>
                  <a:pt x="3535679" y="454151"/>
                </a:lnTo>
                <a:lnTo>
                  <a:pt x="3549395" y="463295"/>
                </a:lnTo>
                <a:lnTo>
                  <a:pt x="3558539" y="451103"/>
                </a:lnTo>
                <a:close/>
              </a:path>
              <a:path w="4434840" h="4434840">
                <a:moveTo>
                  <a:pt x="3584447" y="470915"/>
                </a:moveTo>
                <a:lnTo>
                  <a:pt x="3570731" y="461771"/>
                </a:lnTo>
                <a:lnTo>
                  <a:pt x="3561587" y="473963"/>
                </a:lnTo>
                <a:lnTo>
                  <a:pt x="3573779" y="483107"/>
                </a:lnTo>
                <a:lnTo>
                  <a:pt x="3584447" y="470915"/>
                </a:lnTo>
                <a:close/>
              </a:path>
              <a:path w="4434840" h="4434840">
                <a:moveTo>
                  <a:pt x="3608831" y="490727"/>
                </a:moveTo>
                <a:lnTo>
                  <a:pt x="3596639" y="481583"/>
                </a:lnTo>
                <a:lnTo>
                  <a:pt x="3585971" y="493775"/>
                </a:lnTo>
                <a:lnTo>
                  <a:pt x="3599687" y="502919"/>
                </a:lnTo>
                <a:lnTo>
                  <a:pt x="3608831" y="490727"/>
                </a:lnTo>
                <a:close/>
              </a:path>
              <a:path w="4434840" h="4434840">
                <a:moveTo>
                  <a:pt x="3634739" y="512063"/>
                </a:moveTo>
                <a:lnTo>
                  <a:pt x="3628643" y="505967"/>
                </a:lnTo>
                <a:lnTo>
                  <a:pt x="3621023" y="501395"/>
                </a:lnTo>
                <a:lnTo>
                  <a:pt x="3611879" y="513587"/>
                </a:lnTo>
                <a:lnTo>
                  <a:pt x="3624071" y="522731"/>
                </a:lnTo>
                <a:lnTo>
                  <a:pt x="3634739" y="512063"/>
                </a:lnTo>
                <a:close/>
              </a:path>
              <a:path w="4434840" h="4434840">
                <a:moveTo>
                  <a:pt x="3659123" y="531875"/>
                </a:moveTo>
                <a:lnTo>
                  <a:pt x="3646931" y="521207"/>
                </a:lnTo>
                <a:lnTo>
                  <a:pt x="3636263" y="533399"/>
                </a:lnTo>
                <a:lnTo>
                  <a:pt x="3648455" y="544067"/>
                </a:lnTo>
                <a:lnTo>
                  <a:pt x="3659123" y="531875"/>
                </a:lnTo>
                <a:close/>
              </a:path>
              <a:path w="4434840" h="4434840">
                <a:moveTo>
                  <a:pt x="3683507" y="553211"/>
                </a:moveTo>
                <a:lnTo>
                  <a:pt x="3671315" y="542543"/>
                </a:lnTo>
                <a:lnTo>
                  <a:pt x="3660647" y="554735"/>
                </a:lnTo>
                <a:lnTo>
                  <a:pt x="3672839" y="565403"/>
                </a:lnTo>
                <a:lnTo>
                  <a:pt x="3683507" y="553211"/>
                </a:lnTo>
                <a:close/>
              </a:path>
              <a:path w="4434840" h="4434840">
                <a:moveTo>
                  <a:pt x="3706367" y="574547"/>
                </a:moveTo>
                <a:lnTo>
                  <a:pt x="3695699" y="563879"/>
                </a:lnTo>
                <a:lnTo>
                  <a:pt x="3685031" y="576071"/>
                </a:lnTo>
                <a:lnTo>
                  <a:pt x="3697223" y="586739"/>
                </a:lnTo>
                <a:lnTo>
                  <a:pt x="3706367" y="574547"/>
                </a:lnTo>
                <a:close/>
              </a:path>
              <a:path w="4434840" h="4434840">
                <a:moveTo>
                  <a:pt x="3730751" y="595883"/>
                </a:moveTo>
                <a:lnTo>
                  <a:pt x="3718559" y="585215"/>
                </a:lnTo>
                <a:lnTo>
                  <a:pt x="3707891" y="597407"/>
                </a:lnTo>
                <a:lnTo>
                  <a:pt x="3720083" y="608075"/>
                </a:lnTo>
                <a:lnTo>
                  <a:pt x="3730751" y="595883"/>
                </a:lnTo>
                <a:close/>
              </a:path>
              <a:path w="4434840" h="4434840">
                <a:moveTo>
                  <a:pt x="3753611" y="618743"/>
                </a:moveTo>
                <a:lnTo>
                  <a:pt x="3742943" y="608075"/>
                </a:lnTo>
                <a:lnTo>
                  <a:pt x="3730751" y="618743"/>
                </a:lnTo>
                <a:lnTo>
                  <a:pt x="3742943" y="630935"/>
                </a:lnTo>
                <a:lnTo>
                  <a:pt x="3753611" y="618743"/>
                </a:lnTo>
                <a:close/>
              </a:path>
              <a:path w="4434840" h="4434840">
                <a:moveTo>
                  <a:pt x="3776471" y="641603"/>
                </a:moveTo>
                <a:lnTo>
                  <a:pt x="3765803" y="629411"/>
                </a:lnTo>
                <a:lnTo>
                  <a:pt x="3755135" y="641603"/>
                </a:lnTo>
                <a:lnTo>
                  <a:pt x="3765803" y="652271"/>
                </a:lnTo>
                <a:lnTo>
                  <a:pt x="3776471" y="641603"/>
                </a:lnTo>
                <a:close/>
              </a:path>
              <a:path w="4434840" h="4434840">
                <a:moveTo>
                  <a:pt x="3799331" y="664463"/>
                </a:moveTo>
                <a:lnTo>
                  <a:pt x="3788663" y="652271"/>
                </a:lnTo>
                <a:lnTo>
                  <a:pt x="3776471" y="662939"/>
                </a:lnTo>
                <a:lnTo>
                  <a:pt x="3788663" y="675131"/>
                </a:lnTo>
                <a:lnTo>
                  <a:pt x="3799331" y="664463"/>
                </a:lnTo>
                <a:close/>
              </a:path>
              <a:path w="4434840" h="4434840">
                <a:moveTo>
                  <a:pt x="3822191" y="687323"/>
                </a:moveTo>
                <a:lnTo>
                  <a:pt x="3811523" y="675131"/>
                </a:lnTo>
                <a:lnTo>
                  <a:pt x="3799331" y="687323"/>
                </a:lnTo>
                <a:lnTo>
                  <a:pt x="3809999" y="697991"/>
                </a:lnTo>
                <a:lnTo>
                  <a:pt x="3822191" y="687323"/>
                </a:lnTo>
                <a:close/>
              </a:path>
              <a:path w="4434840" h="4434840">
                <a:moveTo>
                  <a:pt x="3843527" y="710183"/>
                </a:moveTo>
                <a:lnTo>
                  <a:pt x="3832859" y="699515"/>
                </a:lnTo>
                <a:lnTo>
                  <a:pt x="3822191" y="710183"/>
                </a:lnTo>
                <a:lnTo>
                  <a:pt x="3832859" y="720851"/>
                </a:lnTo>
                <a:lnTo>
                  <a:pt x="3843527" y="710183"/>
                </a:lnTo>
                <a:close/>
              </a:path>
              <a:path w="4434840" h="4434840">
                <a:moveTo>
                  <a:pt x="3866387" y="734567"/>
                </a:moveTo>
                <a:lnTo>
                  <a:pt x="3858767" y="725423"/>
                </a:lnTo>
                <a:lnTo>
                  <a:pt x="3855719" y="722375"/>
                </a:lnTo>
                <a:lnTo>
                  <a:pt x="3843527" y="733043"/>
                </a:lnTo>
                <a:lnTo>
                  <a:pt x="3848099" y="737615"/>
                </a:lnTo>
                <a:lnTo>
                  <a:pt x="3854195" y="745235"/>
                </a:lnTo>
                <a:lnTo>
                  <a:pt x="3866387" y="734567"/>
                </a:lnTo>
                <a:close/>
              </a:path>
              <a:path w="4434840" h="4434840">
                <a:moveTo>
                  <a:pt x="3887723" y="758951"/>
                </a:moveTo>
                <a:lnTo>
                  <a:pt x="3877055" y="746759"/>
                </a:lnTo>
                <a:lnTo>
                  <a:pt x="3864863" y="757427"/>
                </a:lnTo>
                <a:lnTo>
                  <a:pt x="3875531" y="769619"/>
                </a:lnTo>
                <a:lnTo>
                  <a:pt x="3887723" y="758951"/>
                </a:lnTo>
                <a:close/>
              </a:path>
              <a:path w="4434840" h="4434840">
                <a:moveTo>
                  <a:pt x="3907535" y="783335"/>
                </a:moveTo>
                <a:lnTo>
                  <a:pt x="3898391" y="771143"/>
                </a:lnTo>
                <a:lnTo>
                  <a:pt x="3886199" y="781811"/>
                </a:lnTo>
                <a:lnTo>
                  <a:pt x="3895343" y="792479"/>
                </a:lnTo>
                <a:lnTo>
                  <a:pt x="3907535" y="783335"/>
                </a:lnTo>
                <a:close/>
              </a:path>
              <a:path w="4434840" h="4434840">
                <a:moveTo>
                  <a:pt x="3928871" y="807719"/>
                </a:moveTo>
                <a:lnTo>
                  <a:pt x="3928871" y="806195"/>
                </a:lnTo>
                <a:lnTo>
                  <a:pt x="3918203" y="795527"/>
                </a:lnTo>
                <a:lnTo>
                  <a:pt x="3906011" y="804671"/>
                </a:lnTo>
                <a:lnTo>
                  <a:pt x="3916679" y="816863"/>
                </a:lnTo>
                <a:lnTo>
                  <a:pt x="3928871" y="807719"/>
                </a:lnTo>
                <a:close/>
              </a:path>
              <a:path w="4434840" h="4434840">
                <a:moveTo>
                  <a:pt x="3948683" y="832103"/>
                </a:moveTo>
                <a:lnTo>
                  <a:pt x="3939539" y="819911"/>
                </a:lnTo>
                <a:lnTo>
                  <a:pt x="3927347" y="829055"/>
                </a:lnTo>
                <a:lnTo>
                  <a:pt x="3936491" y="842771"/>
                </a:lnTo>
                <a:lnTo>
                  <a:pt x="3948683" y="832103"/>
                </a:lnTo>
                <a:close/>
              </a:path>
              <a:path w="4434840" h="4434840">
                <a:moveTo>
                  <a:pt x="3968495" y="858011"/>
                </a:moveTo>
                <a:lnTo>
                  <a:pt x="3959351" y="845819"/>
                </a:lnTo>
                <a:lnTo>
                  <a:pt x="3947159" y="854963"/>
                </a:lnTo>
                <a:lnTo>
                  <a:pt x="3956303" y="867155"/>
                </a:lnTo>
                <a:lnTo>
                  <a:pt x="3968495" y="858011"/>
                </a:lnTo>
                <a:close/>
              </a:path>
              <a:path w="4434840" h="4434840">
                <a:moveTo>
                  <a:pt x="3988307" y="882395"/>
                </a:moveTo>
                <a:lnTo>
                  <a:pt x="3979163" y="870203"/>
                </a:lnTo>
                <a:lnTo>
                  <a:pt x="3966971" y="880871"/>
                </a:lnTo>
                <a:lnTo>
                  <a:pt x="3976115" y="893063"/>
                </a:lnTo>
                <a:lnTo>
                  <a:pt x="3988307" y="882395"/>
                </a:lnTo>
                <a:close/>
              </a:path>
              <a:path w="4434840" h="4434840">
                <a:moveTo>
                  <a:pt x="4008119" y="908303"/>
                </a:moveTo>
                <a:lnTo>
                  <a:pt x="3998975" y="896111"/>
                </a:lnTo>
                <a:lnTo>
                  <a:pt x="3985259" y="905255"/>
                </a:lnTo>
                <a:lnTo>
                  <a:pt x="3994403" y="918971"/>
                </a:lnTo>
                <a:lnTo>
                  <a:pt x="4008119" y="908303"/>
                </a:lnTo>
                <a:close/>
              </a:path>
              <a:path w="4434840" h="4434840">
                <a:moveTo>
                  <a:pt x="4026407" y="935735"/>
                </a:moveTo>
                <a:lnTo>
                  <a:pt x="4017263" y="922019"/>
                </a:lnTo>
                <a:lnTo>
                  <a:pt x="4003547" y="931163"/>
                </a:lnTo>
                <a:lnTo>
                  <a:pt x="4014215" y="944879"/>
                </a:lnTo>
                <a:lnTo>
                  <a:pt x="4026407" y="935735"/>
                </a:lnTo>
                <a:close/>
              </a:path>
              <a:path w="4434840" h="4434840">
                <a:moveTo>
                  <a:pt x="4044695" y="961643"/>
                </a:moveTo>
                <a:lnTo>
                  <a:pt x="4035551" y="947927"/>
                </a:lnTo>
                <a:lnTo>
                  <a:pt x="4023359" y="957071"/>
                </a:lnTo>
                <a:lnTo>
                  <a:pt x="4032503" y="970787"/>
                </a:lnTo>
                <a:lnTo>
                  <a:pt x="4044695" y="961643"/>
                </a:lnTo>
                <a:close/>
              </a:path>
              <a:path w="4434840" h="4434840">
                <a:moveTo>
                  <a:pt x="4062983" y="987551"/>
                </a:moveTo>
                <a:lnTo>
                  <a:pt x="4056887" y="976883"/>
                </a:lnTo>
                <a:lnTo>
                  <a:pt x="4053839" y="973835"/>
                </a:lnTo>
                <a:lnTo>
                  <a:pt x="4041647" y="982979"/>
                </a:lnTo>
                <a:lnTo>
                  <a:pt x="4043171" y="986027"/>
                </a:lnTo>
                <a:lnTo>
                  <a:pt x="4049267" y="996695"/>
                </a:lnTo>
                <a:lnTo>
                  <a:pt x="4062983" y="987551"/>
                </a:lnTo>
                <a:close/>
              </a:path>
              <a:path w="4434840" h="4434840">
                <a:moveTo>
                  <a:pt x="4081271" y="1014983"/>
                </a:moveTo>
                <a:lnTo>
                  <a:pt x="4072127" y="1001267"/>
                </a:lnTo>
                <a:lnTo>
                  <a:pt x="4058411" y="1010411"/>
                </a:lnTo>
                <a:lnTo>
                  <a:pt x="4067555" y="1024127"/>
                </a:lnTo>
                <a:lnTo>
                  <a:pt x="4081271" y="1014983"/>
                </a:lnTo>
                <a:close/>
              </a:path>
              <a:path w="4434840" h="4434840">
                <a:moveTo>
                  <a:pt x="4098035" y="1042415"/>
                </a:moveTo>
                <a:lnTo>
                  <a:pt x="4088891" y="1028699"/>
                </a:lnTo>
                <a:lnTo>
                  <a:pt x="4076699" y="1037843"/>
                </a:lnTo>
                <a:lnTo>
                  <a:pt x="4084319" y="1050035"/>
                </a:lnTo>
                <a:lnTo>
                  <a:pt x="4098035" y="1042415"/>
                </a:lnTo>
                <a:close/>
              </a:path>
              <a:path w="4434840" h="4434840">
                <a:moveTo>
                  <a:pt x="4114799" y="1069847"/>
                </a:moveTo>
                <a:lnTo>
                  <a:pt x="4114799" y="1066799"/>
                </a:lnTo>
                <a:lnTo>
                  <a:pt x="4107179" y="1056131"/>
                </a:lnTo>
                <a:lnTo>
                  <a:pt x="4093463" y="1063751"/>
                </a:lnTo>
                <a:lnTo>
                  <a:pt x="4101083" y="1075943"/>
                </a:lnTo>
                <a:lnTo>
                  <a:pt x="4101083" y="1077467"/>
                </a:lnTo>
                <a:lnTo>
                  <a:pt x="4114799" y="1069847"/>
                </a:lnTo>
                <a:close/>
              </a:path>
              <a:path w="4434840" h="4434840">
                <a:moveTo>
                  <a:pt x="4131563" y="1097279"/>
                </a:moveTo>
                <a:lnTo>
                  <a:pt x="4123943" y="1083563"/>
                </a:lnTo>
                <a:lnTo>
                  <a:pt x="4110227" y="1091183"/>
                </a:lnTo>
                <a:lnTo>
                  <a:pt x="4117847" y="1104899"/>
                </a:lnTo>
                <a:lnTo>
                  <a:pt x="4131563" y="1097279"/>
                </a:lnTo>
                <a:close/>
              </a:path>
              <a:path w="4434840" h="4434840">
                <a:moveTo>
                  <a:pt x="4146803" y="1124711"/>
                </a:moveTo>
                <a:lnTo>
                  <a:pt x="4139183" y="1110995"/>
                </a:lnTo>
                <a:lnTo>
                  <a:pt x="4125467" y="1118615"/>
                </a:lnTo>
                <a:lnTo>
                  <a:pt x="4133087" y="1133855"/>
                </a:lnTo>
                <a:lnTo>
                  <a:pt x="4146803" y="1124711"/>
                </a:lnTo>
                <a:close/>
              </a:path>
              <a:path w="4434840" h="4434840">
                <a:moveTo>
                  <a:pt x="4163567" y="1153667"/>
                </a:moveTo>
                <a:lnTo>
                  <a:pt x="4155947" y="1138427"/>
                </a:lnTo>
                <a:lnTo>
                  <a:pt x="4142231" y="1147571"/>
                </a:lnTo>
                <a:lnTo>
                  <a:pt x="4149851" y="1161287"/>
                </a:lnTo>
                <a:lnTo>
                  <a:pt x="4163567" y="1153667"/>
                </a:lnTo>
                <a:close/>
              </a:path>
              <a:path w="4434840" h="4434840">
                <a:moveTo>
                  <a:pt x="4178807" y="1181099"/>
                </a:moveTo>
                <a:lnTo>
                  <a:pt x="4171187" y="1167383"/>
                </a:lnTo>
                <a:lnTo>
                  <a:pt x="4157471" y="1175003"/>
                </a:lnTo>
                <a:lnTo>
                  <a:pt x="4165091" y="1188719"/>
                </a:lnTo>
                <a:lnTo>
                  <a:pt x="4178807" y="1181099"/>
                </a:lnTo>
                <a:close/>
              </a:path>
              <a:path w="4434840" h="4434840">
                <a:moveTo>
                  <a:pt x="4192523" y="1210055"/>
                </a:moveTo>
                <a:lnTo>
                  <a:pt x="4186427" y="1196339"/>
                </a:lnTo>
                <a:lnTo>
                  <a:pt x="4171187" y="1203959"/>
                </a:lnTo>
                <a:lnTo>
                  <a:pt x="4178807" y="1217675"/>
                </a:lnTo>
                <a:lnTo>
                  <a:pt x="4192523" y="1210055"/>
                </a:lnTo>
                <a:close/>
              </a:path>
              <a:path w="4434840" h="4434840">
                <a:moveTo>
                  <a:pt x="4207763" y="1239011"/>
                </a:moveTo>
                <a:lnTo>
                  <a:pt x="4200143" y="1223771"/>
                </a:lnTo>
                <a:lnTo>
                  <a:pt x="4186427" y="1231391"/>
                </a:lnTo>
                <a:lnTo>
                  <a:pt x="4194047" y="1246631"/>
                </a:lnTo>
                <a:lnTo>
                  <a:pt x="4207763" y="1239011"/>
                </a:lnTo>
                <a:close/>
              </a:path>
              <a:path w="4434840" h="4434840">
                <a:moveTo>
                  <a:pt x="4221479" y="1267967"/>
                </a:moveTo>
                <a:lnTo>
                  <a:pt x="4216907" y="1255775"/>
                </a:lnTo>
                <a:lnTo>
                  <a:pt x="4215383" y="1252727"/>
                </a:lnTo>
                <a:lnTo>
                  <a:pt x="4201667" y="1260347"/>
                </a:lnTo>
                <a:lnTo>
                  <a:pt x="4201667" y="1263395"/>
                </a:lnTo>
                <a:lnTo>
                  <a:pt x="4207763" y="1274063"/>
                </a:lnTo>
                <a:lnTo>
                  <a:pt x="4221479" y="1267967"/>
                </a:lnTo>
                <a:close/>
              </a:path>
              <a:path w="4434840" h="4434840">
                <a:moveTo>
                  <a:pt x="4235195" y="1296923"/>
                </a:moveTo>
                <a:lnTo>
                  <a:pt x="4229099" y="1283207"/>
                </a:lnTo>
                <a:lnTo>
                  <a:pt x="4213859" y="1289303"/>
                </a:lnTo>
                <a:lnTo>
                  <a:pt x="4219955" y="1303019"/>
                </a:lnTo>
                <a:lnTo>
                  <a:pt x="4235195" y="1296923"/>
                </a:lnTo>
                <a:close/>
              </a:path>
              <a:path w="4434840" h="4434840">
                <a:moveTo>
                  <a:pt x="4248911" y="1325879"/>
                </a:moveTo>
                <a:lnTo>
                  <a:pt x="4241291" y="1312163"/>
                </a:lnTo>
                <a:lnTo>
                  <a:pt x="4227575" y="1318259"/>
                </a:lnTo>
                <a:lnTo>
                  <a:pt x="4233671" y="1333499"/>
                </a:lnTo>
                <a:lnTo>
                  <a:pt x="4248911" y="1325879"/>
                </a:lnTo>
                <a:close/>
              </a:path>
              <a:path w="4434840" h="4434840">
                <a:moveTo>
                  <a:pt x="4261103" y="1356359"/>
                </a:moveTo>
                <a:lnTo>
                  <a:pt x="4261103" y="1353311"/>
                </a:lnTo>
                <a:lnTo>
                  <a:pt x="4255007" y="1341119"/>
                </a:lnTo>
                <a:lnTo>
                  <a:pt x="4239767" y="1347215"/>
                </a:lnTo>
                <a:lnTo>
                  <a:pt x="4245863" y="1360931"/>
                </a:lnTo>
                <a:lnTo>
                  <a:pt x="4247387" y="1362455"/>
                </a:lnTo>
                <a:lnTo>
                  <a:pt x="4261103" y="1356359"/>
                </a:lnTo>
                <a:close/>
              </a:path>
              <a:path w="4434840" h="4434840">
                <a:moveTo>
                  <a:pt x="4273295" y="1385315"/>
                </a:moveTo>
                <a:lnTo>
                  <a:pt x="4267199" y="1371599"/>
                </a:lnTo>
                <a:lnTo>
                  <a:pt x="4253483" y="1376171"/>
                </a:lnTo>
                <a:lnTo>
                  <a:pt x="4258055" y="1391411"/>
                </a:lnTo>
                <a:lnTo>
                  <a:pt x="4273295" y="1385315"/>
                </a:lnTo>
                <a:close/>
              </a:path>
              <a:path w="4434840" h="4434840">
                <a:moveTo>
                  <a:pt x="4285487" y="1415795"/>
                </a:moveTo>
                <a:lnTo>
                  <a:pt x="4279391" y="1400555"/>
                </a:lnTo>
                <a:lnTo>
                  <a:pt x="4264151" y="1406651"/>
                </a:lnTo>
                <a:lnTo>
                  <a:pt x="4270247" y="1421891"/>
                </a:lnTo>
                <a:lnTo>
                  <a:pt x="4285487" y="1415795"/>
                </a:lnTo>
                <a:close/>
              </a:path>
              <a:path w="4434840" h="4434840">
                <a:moveTo>
                  <a:pt x="4297679" y="1444751"/>
                </a:moveTo>
                <a:lnTo>
                  <a:pt x="4291583" y="1431035"/>
                </a:lnTo>
                <a:lnTo>
                  <a:pt x="4276343" y="1437131"/>
                </a:lnTo>
                <a:lnTo>
                  <a:pt x="4282439" y="1450847"/>
                </a:lnTo>
                <a:lnTo>
                  <a:pt x="4297679" y="1444751"/>
                </a:lnTo>
                <a:close/>
              </a:path>
              <a:path w="4434840" h="4434840">
                <a:moveTo>
                  <a:pt x="4308347" y="1476755"/>
                </a:moveTo>
                <a:lnTo>
                  <a:pt x="4302251" y="1461515"/>
                </a:lnTo>
                <a:lnTo>
                  <a:pt x="4287011" y="1466087"/>
                </a:lnTo>
                <a:lnTo>
                  <a:pt x="4293107" y="1481327"/>
                </a:lnTo>
                <a:lnTo>
                  <a:pt x="4308347" y="1476755"/>
                </a:lnTo>
                <a:close/>
              </a:path>
              <a:path w="4434840" h="4434840">
                <a:moveTo>
                  <a:pt x="4319015" y="1505711"/>
                </a:moveTo>
                <a:lnTo>
                  <a:pt x="4312919" y="1491995"/>
                </a:lnTo>
                <a:lnTo>
                  <a:pt x="4297679" y="1496567"/>
                </a:lnTo>
                <a:lnTo>
                  <a:pt x="4303775" y="1511807"/>
                </a:lnTo>
                <a:lnTo>
                  <a:pt x="4319015" y="1505711"/>
                </a:lnTo>
                <a:close/>
              </a:path>
              <a:path w="4434840" h="4434840">
                <a:moveTo>
                  <a:pt x="4328159" y="1536191"/>
                </a:moveTo>
                <a:lnTo>
                  <a:pt x="4323587" y="1520951"/>
                </a:lnTo>
                <a:lnTo>
                  <a:pt x="4308347" y="1527047"/>
                </a:lnTo>
                <a:lnTo>
                  <a:pt x="4312919" y="1542287"/>
                </a:lnTo>
                <a:lnTo>
                  <a:pt x="4328159" y="1536191"/>
                </a:lnTo>
                <a:close/>
              </a:path>
              <a:path w="4434840" h="4434840">
                <a:moveTo>
                  <a:pt x="4338827" y="1568195"/>
                </a:moveTo>
                <a:lnTo>
                  <a:pt x="4335779" y="1557527"/>
                </a:lnTo>
                <a:lnTo>
                  <a:pt x="4334255" y="1551431"/>
                </a:lnTo>
                <a:lnTo>
                  <a:pt x="4319015" y="1557527"/>
                </a:lnTo>
                <a:lnTo>
                  <a:pt x="4320539" y="1562099"/>
                </a:lnTo>
                <a:lnTo>
                  <a:pt x="4323587" y="1572767"/>
                </a:lnTo>
                <a:lnTo>
                  <a:pt x="4338827" y="1568195"/>
                </a:lnTo>
                <a:close/>
              </a:path>
              <a:path w="4434840" h="4434840">
                <a:moveTo>
                  <a:pt x="4346447" y="1598675"/>
                </a:moveTo>
                <a:lnTo>
                  <a:pt x="4343399" y="1583435"/>
                </a:lnTo>
                <a:lnTo>
                  <a:pt x="4326635" y="1588007"/>
                </a:lnTo>
                <a:lnTo>
                  <a:pt x="4331207" y="1603247"/>
                </a:lnTo>
                <a:lnTo>
                  <a:pt x="4346447" y="1598675"/>
                </a:lnTo>
                <a:close/>
              </a:path>
              <a:path w="4434840" h="4434840">
                <a:moveTo>
                  <a:pt x="4355591" y="1629155"/>
                </a:moveTo>
                <a:lnTo>
                  <a:pt x="4351019" y="1613915"/>
                </a:lnTo>
                <a:lnTo>
                  <a:pt x="4335779" y="1618487"/>
                </a:lnTo>
                <a:lnTo>
                  <a:pt x="4340351" y="1633727"/>
                </a:lnTo>
                <a:lnTo>
                  <a:pt x="4355591" y="1629155"/>
                </a:lnTo>
                <a:close/>
              </a:path>
              <a:path w="4434840" h="4434840">
                <a:moveTo>
                  <a:pt x="4364735" y="1659635"/>
                </a:moveTo>
                <a:lnTo>
                  <a:pt x="4360163" y="1644395"/>
                </a:lnTo>
                <a:lnTo>
                  <a:pt x="4344923" y="1648967"/>
                </a:lnTo>
                <a:lnTo>
                  <a:pt x="4349495" y="1664207"/>
                </a:lnTo>
                <a:lnTo>
                  <a:pt x="4364735" y="1659635"/>
                </a:lnTo>
                <a:close/>
              </a:path>
              <a:path w="4434840" h="4434840">
                <a:moveTo>
                  <a:pt x="4372355" y="1691639"/>
                </a:moveTo>
                <a:lnTo>
                  <a:pt x="4369307" y="1676399"/>
                </a:lnTo>
                <a:lnTo>
                  <a:pt x="4352543" y="1679447"/>
                </a:lnTo>
                <a:lnTo>
                  <a:pt x="4357115" y="1696211"/>
                </a:lnTo>
                <a:lnTo>
                  <a:pt x="4372355" y="1691639"/>
                </a:lnTo>
                <a:close/>
              </a:path>
              <a:path w="4434840" h="4434840">
                <a:moveTo>
                  <a:pt x="4379975" y="1723643"/>
                </a:moveTo>
                <a:lnTo>
                  <a:pt x="4375403" y="1706879"/>
                </a:lnTo>
                <a:lnTo>
                  <a:pt x="4360163" y="1711451"/>
                </a:lnTo>
                <a:lnTo>
                  <a:pt x="4363211" y="1726691"/>
                </a:lnTo>
                <a:lnTo>
                  <a:pt x="4379975" y="1723643"/>
                </a:lnTo>
                <a:close/>
              </a:path>
              <a:path w="4434840" h="4434840">
                <a:moveTo>
                  <a:pt x="4386071" y="1754123"/>
                </a:moveTo>
                <a:lnTo>
                  <a:pt x="4383023" y="1738883"/>
                </a:lnTo>
                <a:lnTo>
                  <a:pt x="4367783" y="1741931"/>
                </a:lnTo>
                <a:lnTo>
                  <a:pt x="4370831" y="1758695"/>
                </a:lnTo>
                <a:lnTo>
                  <a:pt x="4386071" y="1754123"/>
                </a:lnTo>
                <a:close/>
              </a:path>
              <a:path w="4434840" h="4434840">
                <a:moveTo>
                  <a:pt x="4393691" y="1786127"/>
                </a:moveTo>
                <a:lnTo>
                  <a:pt x="4390643" y="1769363"/>
                </a:lnTo>
                <a:lnTo>
                  <a:pt x="4373879" y="1773935"/>
                </a:lnTo>
                <a:lnTo>
                  <a:pt x="4376927" y="1789175"/>
                </a:lnTo>
                <a:lnTo>
                  <a:pt x="4393691" y="1786127"/>
                </a:lnTo>
                <a:close/>
              </a:path>
              <a:path w="4434840" h="4434840">
                <a:moveTo>
                  <a:pt x="4398263" y="1818131"/>
                </a:moveTo>
                <a:lnTo>
                  <a:pt x="4395215" y="1801367"/>
                </a:lnTo>
                <a:lnTo>
                  <a:pt x="4379975" y="1804415"/>
                </a:lnTo>
                <a:lnTo>
                  <a:pt x="4383023" y="1821179"/>
                </a:lnTo>
                <a:lnTo>
                  <a:pt x="4398263" y="1818131"/>
                </a:lnTo>
                <a:close/>
              </a:path>
              <a:path w="4434840" h="4434840">
                <a:moveTo>
                  <a:pt x="4404359" y="1848611"/>
                </a:moveTo>
                <a:lnTo>
                  <a:pt x="4401311" y="1833371"/>
                </a:lnTo>
                <a:lnTo>
                  <a:pt x="4386071" y="1836419"/>
                </a:lnTo>
                <a:lnTo>
                  <a:pt x="4389119" y="1851659"/>
                </a:lnTo>
                <a:lnTo>
                  <a:pt x="4404359" y="1848611"/>
                </a:lnTo>
                <a:close/>
              </a:path>
              <a:path w="4434840" h="4434840">
                <a:moveTo>
                  <a:pt x="4410455" y="1880615"/>
                </a:moveTo>
                <a:lnTo>
                  <a:pt x="4410455" y="1879091"/>
                </a:lnTo>
                <a:lnTo>
                  <a:pt x="4407407" y="1865375"/>
                </a:lnTo>
                <a:lnTo>
                  <a:pt x="4392167" y="1868423"/>
                </a:lnTo>
                <a:lnTo>
                  <a:pt x="4393691" y="1882139"/>
                </a:lnTo>
                <a:lnTo>
                  <a:pt x="4393691" y="1883663"/>
                </a:lnTo>
                <a:lnTo>
                  <a:pt x="4410455" y="1880615"/>
                </a:lnTo>
                <a:close/>
              </a:path>
              <a:path w="4434840" h="4434840">
                <a:moveTo>
                  <a:pt x="4413503" y="1912619"/>
                </a:moveTo>
                <a:lnTo>
                  <a:pt x="4411979" y="1897379"/>
                </a:lnTo>
                <a:lnTo>
                  <a:pt x="4396739" y="1898903"/>
                </a:lnTo>
                <a:lnTo>
                  <a:pt x="4398263" y="1915667"/>
                </a:lnTo>
                <a:lnTo>
                  <a:pt x="4413503" y="1912619"/>
                </a:lnTo>
                <a:close/>
              </a:path>
              <a:path w="4434840" h="4434840">
                <a:moveTo>
                  <a:pt x="4418075" y="1944623"/>
                </a:moveTo>
                <a:lnTo>
                  <a:pt x="4416551" y="1929383"/>
                </a:lnTo>
                <a:lnTo>
                  <a:pt x="4399787" y="1930907"/>
                </a:lnTo>
                <a:lnTo>
                  <a:pt x="4402835" y="1947671"/>
                </a:lnTo>
                <a:lnTo>
                  <a:pt x="4418075" y="1944623"/>
                </a:lnTo>
                <a:close/>
              </a:path>
              <a:path w="4434840" h="4434840">
                <a:moveTo>
                  <a:pt x="4422647" y="1976627"/>
                </a:moveTo>
                <a:lnTo>
                  <a:pt x="4419599" y="1961387"/>
                </a:lnTo>
                <a:lnTo>
                  <a:pt x="4404359" y="1962911"/>
                </a:lnTo>
                <a:lnTo>
                  <a:pt x="4405883" y="1978151"/>
                </a:lnTo>
                <a:lnTo>
                  <a:pt x="4422647" y="1976627"/>
                </a:lnTo>
                <a:close/>
              </a:path>
              <a:path w="4434840" h="4434840">
                <a:moveTo>
                  <a:pt x="4425695" y="2008631"/>
                </a:moveTo>
                <a:lnTo>
                  <a:pt x="4424171" y="1993391"/>
                </a:lnTo>
                <a:lnTo>
                  <a:pt x="4407407" y="1994915"/>
                </a:lnTo>
                <a:lnTo>
                  <a:pt x="4408931" y="2010155"/>
                </a:lnTo>
                <a:lnTo>
                  <a:pt x="4425695" y="2008631"/>
                </a:lnTo>
                <a:close/>
              </a:path>
              <a:path w="4434840" h="4434840">
                <a:moveTo>
                  <a:pt x="4427219" y="2040635"/>
                </a:moveTo>
                <a:lnTo>
                  <a:pt x="4427219" y="2025395"/>
                </a:lnTo>
                <a:lnTo>
                  <a:pt x="4410455" y="2026919"/>
                </a:lnTo>
                <a:lnTo>
                  <a:pt x="4411979" y="2042159"/>
                </a:lnTo>
                <a:lnTo>
                  <a:pt x="4427219" y="2040635"/>
                </a:lnTo>
                <a:close/>
              </a:path>
              <a:path w="4434840" h="4434840">
                <a:moveTo>
                  <a:pt x="4430267" y="2072639"/>
                </a:moveTo>
                <a:lnTo>
                  <a:pt x="4428743" y="2057399"/>
                </a:lnTo>
                <a:lnTo>
                  <a:pt x="4413503" y="2058923"/>
                </a:lnTo>
                <a:lnTo>
                  <a:pt x="4413503" y="2074163"/>
                </a:lnTo>
                <a:lnTo>
                  <a:pt x="4430267" y="2072639"/>
                </a:lnTo>
                <a:close/>
              </a:path>
              <a:path w="4434840" h="4434840">
                <a:moveTo>
                  <a:pt x="4431791" y="2106167"/>
                </a:moveTo>
                <a:lnTo>
                  <a:pt x="4431791" y="2089403"/>
                </a:lnTo>
                <a:lnTo>
                  <a:pt x="4415027" y="2090927"/>
                </a:lnTo>
                <a:lnTo>
                  <a:pt x="4416551" y="2104643"/>
                </a:lnTo>
                <a:lnTo>
                  <a:pt x="4416551" y="2106167"/>
                </a:lnTo>
                <a:lnTo>
                  <a:pt x="4431791" y="2106167"/>
                </a:lnTo>
                <a:close/>
              </a:path>
              <a:path w="4434840" h="4434840">
                <a:moveTo>
                  <a:pt x="4433315" y="2138171"/>
                </a:moveTo>
                <a:lnTo>
                  <a:pt x="4433315" y="2121407"/>
                </a:lnTo>
                <a:lnTo>
                  <a:pt x="4416551" y="2121407"/>
                </a:lnTo>
                <a:lnTo>
                  <a:pt x="4416551" y="2138171"/>
                </a:lnTo>
                <a:lnTo>
                  <a:pt x="4433315" y="2138171"/>
                </a:lnTo>
                <a:close/>
              </a:path>
              <a:path w="4434840" h="4434840">
                <a:moveTo>
                  <a:pt x="4434839" y="2170175"/>
                </a:moveTo>
                <a:lnTo>
                  <a:pt x="4433315" y="2153411"/>
                </a:lnTo>
                <a:lnTo>
                  <a:pt x="4418075" y="2153411"/>
                </a:lnTo>
                <a:lnTo>
                  <a:pt x="4418075" y="2170175"/>
                </a:lnTo>
                <a:lnTo>
                  <a:pt x="4434839" y="2170175"/>
                </a:lnTo>
                <a:close/>
              </a:path>
              <a:path w="4434840" h="4434840">
                <a:moveTo>
                  <a:pt x="4434839" y="2202179"/>
                </a:moveTo>
                <a:lnTo>
                  <a:pt x="4434839" y="2185415"/>
                </a:lnTo>
                <a:lnTo>
                  <a:pt x="4418075" y="2185415"/>
                </a:lnTo>
                <a:lnTo>
                  <a:pt x="4419599" y="2202179"/>
                </a:lnTo>
                <a:lnTo>
                  <a:pt x="4434839" y="2202179"/>
                </a:lnTo>
                <a:close/>
              </a:path>
              <a:path w="4434840" h="4434840">
                <a:moveTo>
                  <a:pt x="4434839" y="2234183"/>
                </a:moveTo>
                <a:lnTo>
                  <a:pt x="4434839" y="2217419"/>
                </a:lnTo>
                <a:lnTo>
                  <a:pt x="4419599" y="2217419"/>
                </a:lnTo>
                <a:lnTo>
                  <a:pt x="4419599" y="2234183"/>
                </a:lnTo>
                <a:lnTo>
                  <a:pt x="4434839" y="2234183"/>
                </a:lnTo>
                <a:close/>
              </a:path>
              <a:path w="4434840" h="4434840">
                <a:moveTo>
                  <a:pt x="4434839" y="2266187"/>
                </a:moveTo>
                <a:lnTo>
                  <a:pt x="4434839" y="2249423"/>
                </a:lnTo>
                <a:lnTo>
                  <a:pt x="4418075" y="2249423"/>
                </a:lnTo>
                <a:lnTo>
                  <a:pt x="4418075" y="2266187"/>
                </a:lnTo>
                <a:lnTo>
                  <a:pt x="4434839" y="2266187"/>
                </a:lnTo>
                <a:close/>
              </a:path>
              <a:path w="4434840" h="4434840">
                <a:moveTo>
                  <a:pt x="4433315" y="2298191"/>
                </a:moveTo>
                <a:lnTo>
                  <a:pt x="4433315" y="2281427"/>
                </a:lnTo>
                <a:lnTo>
                  <a:pt x="4418075" y="2281427"/>
                </a:lnTo>
                <a:lnTo>
                  <a:pt x="4416551" y="2298191"/>
                </a:lnTo>
                <a:lnTo>
                  <a:pt x="4433315" y="2298191"/>
                </a:lnTo>
                <a:close/>
              </a:path>
              <a:path w="4434840" h="4434840">
                <a:moveTo>
                  <a:pt x="4433315" y="2314955"/>
                </a:moveTo>
                <a:lnTo>
                  <a:pt x="4416551" y="2313431"/>
                </a:lnTo>
                <a:lnTo>
                  <a:pt x="4416551" y="2330195"/>
                </a:lnTo>
                <a:lnTo>
                  <a:pt x="4431791" y="2330195"/>
                </a:lnTo>
                <a:lnTo>
                  <a:pt x="4433315" y="2314955"/>
                </a:lnTo>
                <a:close/>
              </a:path>
              <a:path w="4434840" h="4434840">
                <a:moveTo>
                  <a:pt x="4431791" y="2346959"/>
                </a:moveTo>
                <a:lnTo>
                  <a:pt x="4415027" y="2345435"/>
                </a:lnTo>
                <a:lnTo>
                  <a:pt x="4413503" y="2360675"/>
                </a:lnTo>
                <a:lnTo>
                  <a:pt x="4430267" y="2362199"/>
                </a:lnTo>
                <a:lnTo>
                  <a:pt x="4431791" y="2346959"/>
                </a:lnTo>
                <a:close/>
              </a:path>
              <a:path w="4434840" h="4434840">
                <a:moveTo>
                  <a:pt x="4428743" y="2378963"/>
                </a:moveTo>
                <a:lnTo>
                  <a:pt x="4413503" y="2377439"/>
                </a:lnTo>
                <a:lnTo>
                  <a:pt x="4411979" y="2392679"/>
                </a:lnTo>
                <a:lnTo>
                  <a:pt x="4427219" y="2394203"/>
                </a:lnTo>
                <a:lnTo>
                  <a:pt x="4428743" y="2378963"/>
                </a:lnTo>
                <a:close/>
              </a:path>
              <a:path w="4434840" h="4434840">
                <a:moveTo>
                  <a:pt x="4425695" y="2426207"/>
                </a:moveTo>
                <a:lnTo>
                  <a:pt x="4425695" y="2410967"/>
                </a:lnTo>
                <a:lnTo>
                  <a:pt x="4410455" y="2409443"/>
                </a:lnTo>
                <a:lnTo>
                  <a:pt x="4408931" y="2424683"/>
                </a:lnTo>
                <a:lnTo>
                  <a:pt x="4425695" y="2426207"/>
                </a:lnTo>
                <a:close/>
              </a:path>
              <a:path w="4434840" h="4434840">
                <a:moveTo>
                  <a:pt x="4424171" y="2444495"/>
                </a:moveTo>
                <a:lnTo>
                  <a:pt x="4424171" y="2442971"/>
                </a:lnTo>
                <a:lnTo>
                  <a:pt x="4407407" y="2441447"/>
                </a:lnTo>
                <a:lnTo>
                  <a:pt x="4407407" y="2442971"/>
                </a:lnTo>
                <a:lnTo>
                  <a:pt x="4405883" y="2456687"/>
                </a:lnTo>
                <a:lnTo>
                  <a:pt x="4422647" y="2458211"/>
                </a:lnTo>
                <a:lnTo>
                  <a:pt x="4424171" y="2444495"/>
                </a:lnTo>
                <a:close/>
              </a:path>
              <a:path w="4434840" h="4434840">
                <a:moveTo>
                  <a:pt x="4419599" y="2474975"/>
                </a:moveTo>
                <a:lnTo>
                  <a:pt x="4404359" y="2473451"/>
                </a:lnTo>
                <a:lnTo>
                  <a:pt x="4401311" y="2488691"/>
                </a:lnTo>
                <a:lnTo>
                  <a:pt x="4418075" y="2490215"/>
                </a:lnTo>
                <a:lnTo>
                  <a:pt x="4419599" y="2474975"/>
                </a:lnTo>
                <a:close/>
              </a:path>
              <a:path w="4434840" h="4434840">
                <a:moveTo>
                  <a:pt x="4416551" y="2506979"/>
                </a:moveTo>
                <a:lnTo>
                  <a:pt x="4399787" y="2503931"/>
                </a:lnTo>
                <a:lnTo>
                  <a:pt x="4398263" y="2520695"/>
                </a:lnTo>
                <a:lnTo>
                  <a:pt x="4413503" y="2522219"/>
                </a:lnTo>
                <a:lnTo>
                  <a:pt x="4416551" y="2506979"/>
                </a:lnTo>
                <a:close/>
              </a:path>
              <a:path w="4434840" h="4434840">
                <a:moveTo>
                  <a:pt x="4411979" y="2538983"/>
                </a:moveTo>
                <a:lnTo>
                  <a:pt x="4395215" y="2535935"/>
                </a:lnTo>
                <a:lnTo>
                  <a:pt x="4393691" y="2552699"/>
                </a:lnTo>
                <a:lnTo>
                  <a:pt x="4410455" y="2554223"/>
                </a:lnTo>
                <a:lnTo>
                  <a:pt x="4411979" y="2538983"/>
                </a:lnTo>
                <a:close/>
              </a:path>
              <a:path w="4434840" h="4434840">
                <a:moveTo>
                  <a:pt x="4407407" y="2570987"/>
                </a:moveTo>
                <a:lnTo>
                  <a:pt x="4390643" y="2567939"/>
                </a:lnTo>
                <a:lnTo>
                  <a:pt x="4389119" y="2583179"/>
                </a:lnTo>
                <a:lnTo>
                  <a:pt x="4404359" y="2586227"/>
                </a:lnTo>
                <a:lnTo>
                  <a:pt x="4407407" y="2570987"/>
                </a:lnTo>
                <a:close/>
              </a:path>
              <a:path w="4434840" h="4434840">
                <a:moveTo>
                  <a:pt x="4401311" y="2601467"/>
                </a:moveTo>
                <a:lnTo>
                  <a:pt x="4386071" y="2599943"/>
                </a:lnTo>
                <a:lnTo>
                  <a:pt x="4383023" y="2615183"/>
                </a:lnTo>
                <a:lnTo>
                  <a:pt x="4398263" y="2618231"/>
                </a:lnTo>
                <a:lnTo>
                  <a:pt x="4401311" y="2601467"/>
                </a:lnTo>
                <a:close/>
              </a:path>
              <a:path w="4434840" h="4434840">
                <a:moveTo>
                  <a:pt x="4395215" y="2633471"/>
                </a:moveTo>
                <a:lnTo>
                  <a:pt x="4379975" y="2630423"/>
                </a:lnTo>
                <a:lnTo>
                  <a:pt x="4376927" y="2647187"/>
                </a:lnTo>
                <a:lnTo>
                  <a:pt x="4392167" y="2648711"/>
                </a:lnTo>
                <a:lnTo>
                  <a:pt x="4395215" y="2633471"/>
                </a:lnTo>
                <a:close/>
              </a:path>
              <a:path w="4434840" h="4434840">
                <a:moveTo>
                  <a:pt x="4390643" y="2665475"/>
                </a:moveTo>
                <a:lnTo>
                  <a:pt x="4373879" y="2662427"/>
                </a:lnTo>
                <a:lnTo>
                  <a:pt x="4370831" y="2677667"/>
                </a:lnTo>
                <a:lnTo>
                  <a:pt x="4386071" y="2680715"/>
                </a:lnTo>
                <a:lnTo>
                  <a:pt x="4390643" y="2665475"/>
                </a:lnTo>
                <a:close/>
              </a:path>
              <a:path w="4434840" h="4434840">
                <a:moveTo>
                  <a:pt x="4383023" y="2697479"/>
                </a:moveTo>
                <a:lnTo>
                  <a:pt x="4367783" y="2692907"/>
                </a:lnTo>
                <a:lnTo>
                  <a:pt x="4363211" y="2708147"/>
                </a:lnTo>
                <a:lnTo>
                  <a:pt x="4378451" y="2712719"/>
                </a:lnTo>
                <a:lnTo>
                  <a:pt x="4383023" y="2697479"/>
                </a:lnTo>
                <a:close/>
              </a:path>
              <a:path w="4434840" h="4434840">
                <a:moveTo>
                  <a:pt x="4375403" y="2727959"/>
                </a:moveTo>
                <a:lnTo>
                  <a:pt x="4360163" y="2724911"/>
                </a:lnTo>
                <a:lnTo>
                  <a:pt x="4355591" y="2740151"/>
                </a:lnTo>
                <a:lnTo>
                  <a:pt x="4372355" y="2743199"/>
                </a:lnTo>
                <a:lnTo>
                  <a:pt x="4375403" y="2727959"/>
                </a:lnTo>
                <a:close/>
              </a:path>
              <a:path w="4434840" h="4434840">
                <a:moveTo>
                  <a:pt x="4367783" y="2759963"/>
                </a:moveTo>
                <a:lnTo>
                  <a:pt x="4352543" y="2755391"/>
                </a:lnTo>
                <a:lnTo>
                  <a:pt x="4349495" y="2767583"/>
                </a:lnTo>
                <a:lnTo>
                  <a:pt x="4349495" y="2770631"/>
                </a:lnTo>
                <a:lnTo>
                  <a:pt x="4364735" y="2775203"/>
                </a:lnTo>
                <a:lnTo>
                  <a:pt x="4366259" y="2770631"/>
                </a:lnTo>
                <a:lnTo>
                  <a:pt x="4367783" y="2759963"/>
                </a:lnTo>
                <a:close/>
              </a:path>
              <a:path w="4434840" h="4434840">
                <a:moveTo>
                  <a:pt x="4360163" y="2790443"/>
                </a:moveTo>
                <a:lnTo>
                  <a:pt x="4344923" y="2785871"/>
                </a:lnTo>
                <a:lnTo>
                  <a:pt x="4340351" y="2801111"/>
                </a:lnTo>
                <a:lnTo>
                  <a:pt x="4355591" y="2805683"/>
                </a:lnTo>
                <a:lnTo>
                  <a:pt x="4360163" y="2790443"/>
                </a:lnTo>
                <a:close/>
              </a:path>
              <a:path w="4434840" h="4434840">
                <a:moveTo>
                  <a:pt x="4351019" y="2820923"/>
                </a:moveTo>
                <a:lnTo>
                  <a:pt x="4335779" y="2817875"/>
                </a:lnTo>
                <a:lnTo>
                  <a:pt x="4331207" y="2833115"/>
                </a:lnTo>
                <a:lnTo>
                  <a:pt x="4346447" y="2837687"/>
                </a:lnTo>
                <a:lnTo>
                  <a:pt x="4351019" y="2820923"/>
                </a:lnTo>
                <a:close/>
              </a:path>
              <a:path w="4434840" h="4434840">
                <a:moveTo>
                  <a:pt x="4341875" y="2852927"/>
                </a:moveTo>
                <a:lnTo>
                  <a:pt x="4326635" y="2848355"/>
                </a:lnTo>
                <a:lnTo>
                  <a:pt x="4322063" y="2863595"/>
                </a:lnTo>
                <a:lnTo>
                  <a:pt x="4337303" y="2868167"/>
                </a:lnTo>
                <a:lnTo>
                  <a:pt x="4341875" y="2852927"/>
                </a:lnTo>
                <a:close/>
              </a:path>
              <a:path w="4434840" h="4434840">
                <a:moveTo>
                  <a:pt x="4332731" y="2883407"/>
                </a:moveTo>
                <a:lnTo>
                  <a:pt x="4317491" y="2878835"/>
                </a:lnTo>
                <a:lnTo>
                  <a:pt x="4312919" y="2894075"/>
                </a:lnTo>
                <a:lnTo>
                  <a:pt x="4328159" y="2898647"/>
                </a:lnTo>
                <a:lnTo>
                  <a:pt x="4332731" y="2883407"/>
                </a:lnTo>
                <a:close/>
              </a:path>
              <a:path w="4434840" h="4434840">
                <a:moveTo>
                  <a:pt x="4323587" y="2913887"/>
                </a:moveTo>
                <a:lnTo>
                  <a:pt x="4308347" y="2909315"/>
                </a:lnTo>
                <a:lnTo>
                  <a:pt x="4302251" y="2924555"/>
                </a:lnTo>
                <a:lnTo>
                  <a:pt x="4317491" y="2929127"/>
                </a:lnTo>
                <a:lnTo>
                  <a:pt x="4323587" y="2913887"/>
                </a:lnTo>
                <a:close/>
              </a:path>
              <a:path w="4434840" h="4434840">
                <a:moveTo>
                  <a:pt x="4312919" y="2944367"/>
                </a:moveTo>
                <a:lnTo>
                  <a:pt x="4297679" y="2939795"/>
                </a:lnTo>
                <a:lnTo>
                  <a:pt x="4293107" y="2955035"/>
                </a:lnTo>
                <a:lnTo>
                  <a:pt x="4306823" y="2959607"/>
                </a:lnTo>
                <a:lnTo>
                  <a:pt x="4312919" y="2944367"/>
                </a:lnTo>
                <a:close/>
              </a:path>
              <a:path w="4434840" h="4434840">
                <a:moveTo>
                  <a:pt x="4302251" y="2974847"/>
                </a:moveTo>
                <a:lnTo>
                  <a:pt x="4287011" y="2970275"/>
                </a:lnTo>
                <a:lnTo>
                  <a:pt x="4282439" y="2983991"/>
                </a:lnTo>
                <a:lnTo>
                  <a:pt x="4296155" y="2990087"/>
                </a:lnTo>
                <a:lnTo>
                  <a:pt x="4300727" y="2979419"/>
                </a:lnTo>
                <a:lnTo>
                  <a:pt x="4302251" y="2974847"/>
                </a:lnTo>
                <a:close/>
              </a:path>
              <a:path w="4434840" h="4434840">
                <a:moveTo>
                  <a:pt x="4290059" y="3005327"/>
                </a:moveTo>
                <a:lnTo>
                  <a:pt x="4276343" y="2999231"/>
                </a:lnTo>
                <a:lnTo>
                  <a:pt x="4270247" y="3014471"/>
                </a:lnTo>
                <a:lnTo>
                  <a:pt x="4285487" y="3020567"/>
                </a:lnTo>
                <a:lnTo>
                  <a:pt x="4290059" y="3005327"/>
                </a:lnTo>
                <a:close/>
              </a:path>
              <a:path w="4434840" h="4434840">
                <a:moveTo>
                  <a:pt x="4279391" y="3034283"/>
                </a:moveTo>
                <a:lnTo>
                  <a:pt x="4264151" y="3029711"/>
                </a:lnTo>
                <a:lnTo>
                  <a:pt x="4258055" y="3043427"/>
                </a:lnTo>
                <a:lnTo>
                  <a:pt x="4273295" y="3049523"/>
                </a:lnTo>
                <a:lnTo>
                  <a:pt x="4279391" y="3034283"/>
                </a:lnTo>
                <a:close/>
              </a:path>
              <a:path w="4434840" h="4434840">
                <a:moveTo>
                  <a:pt x="4267199" y="3064763"/>
                </a:moveTo>
                <a:lnTo>
                  <a:pt x="4251959" y="3058667"/>
                </a:lnTo>
                <a:lnTo>
                  <a:pt x="4245863" y="3073907"/>
                </a:lnTo>
                <a:lnTo>
                  <a:pt x="4261103" y="3080003"/>
                </a:lnTo>
                <a:lnTo>
                  <a:pt x="4267199" y="3064763"/>
                </a:lnTo>
                <a:close/>
              </a:path>
              <a:path w="4434840" h="4434840">
                <a:moveTo>
                  <a:pt x="4255007" y="3095243"/>
                </a:moveTo>
                <a:lnTo>
                  <a:pt x="4239767" y="3087623"/>
                </a:lnTo>
                <a:lnTo>
                  <a:pt x="4233671" y="3102863"/>
                </a:lnTo>
                <a:lnTo>
                  <a:pt x="4247387" y="3108959"/>
                </a:lnTo>
                <a:lnTo>
                  <a:pt x="4255007" y="3095243"/>
                </a:lnTo>
                <a:close/>
              </a:path>
              <a:path w="4434840" h="4434840">
                <a:moveTo>
                  <a:pt x="4241291" y="3124199"/>
                </a:moveTo>
                <a:lnTo>
                  <a:pt x="4226051" y="3116579"/>
                </a:lnTo>
                <a:lnTo>
                  <a:pt x="4219955" y="3131819"/>
                </a:lnTo>
                <a:lnTo>
                  <a:pt x="4235195" y="3137915"/>
                </a:lnTo>
                <a:lnTo>
                  <a:pt x="4241291" y="3124199"/>
                </a:lnTo>
                <a:close/>
              </a:path>
              <a:path w="4434840" h="4434840">
                <a:moveTo>
                  <a:pt x="4227575" y="3153155"/>
                </a:moveTo>
                <a:lnTo>
                  <a:pt x="4213859" y="3147059"/>
                </a:lnTo>
                <a:lnTo>
                  <a:pt x="4206239" y="3160775"/>
                </a:lnTo>
                <a:lnTo>
                  <a:pt x="4221479" y="3168395"/>
                </a:lnTo>
                <a:lnTo>
                  <a:pt x="4227575" y="3153155"/>
                </a:lnTo>
                <a:close/>
              </a:path>
              <a:path w="4434840" h="4434840">
                <a:moveTo>
                  <a:pt x="4213859" y="3182111"/>
                </a:moveTo>
                <a:lnTo>
                  <a:pt x="4200143" y="3174491"/>
                </a:lnTo>
                <a:lnTo>
                  <a:pt x="4192523" y="3189731"/>
                </a:lnTo>
                <a:lnTo>
                  <a:pt x="4207763" y="3197351"/>
                </a:lnTo>
                <a:lnTo>
                  <a:pt x="4213859" y="3182111"/>
                </a:lnTo>
                <a:close/>
              </a:path>
              <a:path w="4434840" h="4434840">
                <a:moveTo>
                  <a:pt x="4200143" y="3211067"/>
                </a:moveTo>
                <a:lnTo>
                  <a:pt x="4186427" y="3203447"/>
                </a:lnTo>
                <a:lnTo>
                  <a:pt x="4178807" y="3218687"/>
                </a:lnTo>
                <a:lnTo>
                  <a:pt x="4192523" y="3224783"/>
                </a:lnTo>
                <a:lnTo>
                  <a:pt x="4200143" y="3211067"/>
                </a:lnTo>
                <a:close/>
              </a:path>
              <a:path w="4434840" h="4434840">
                <a:moveTo>
                  <a:pt x="4184903" y="3240023"/>
                </a:moveTo>
                <a:lnTo>
                  <a:pt x="4171187" y="3232403"/>
                </a:lnTo>
                <a:lnTo>
                  <a:pt x="4163567" y="3246119"/>
                </a:lnTo>
                <a:lnTo>
                  <a:pt x="4177283" y="3253739"/>
                </a:lnTo>
                <a:lnTo>
                  <a:pt x="4184903" y="3240023"/>
                </a:lnTo>
                <a:close/>
              </a:path>
              <a:path w="4434840" h="4434840">
                <a:moveTo>
                  <a:pt x="4171187" y="3267455"/>
                </a:moveTo>
                <a:lnTo>
                  <a:pt x="4155947" y="3261359"/>
                </a:lnTo>
                <a:lnTo>
                  <a:pt x="4152899" y="3265931"/>
                </a:lnTo>
                <a:lnTo>
                  <a:pt x="4148327" y="3275075"/>
                </a:lnTo>
                <a:lnTo>
                  <a:pt x="4162043" y="3282695"/>
                </a:lnTo>
                <a:lnTo>
                  <a:pt x="4168139" y="3273551"/>
                </a:lnTo>
                <a:lnTo>
                  <a:pt x="4171187" y="3267455"/>
                </a:lnTo>
                <a:close/>
              </a:path>
              <a:path w="4434840" h="4434840">
                <a:moveTo>
                  <a:pt x="4154423" y="3296411"/>
                </a:moveTo>
                <a:lnTo>
                  <a:pt x="4140707" y="3288791"/>
                </a:lnTo>
                <a:lnTo>
                  <a:pt x="4133087" y="3302507"/>
                </a:lnTo>
                <a:lnTo>
                  <a:pt x="4146803" y="3310127"/>
                </a:lnTo>
                <a:lnTo>
                  <a:pt x="4154423" y="3296411"/>
                </a:lnTo>
                <a:close/>
              </a:path>
              <a:path w="4434840" h="4434840">
                <a:moveTo>
                  <a:pt x="4139183" y="3323843"/>
                </a:moveTo>
                <a:lnTo>
                  <a:pt x="4125467" y="3316223"/>
                </a:lnTo>
                <a:lnTo>
                  <a:pt x="4116323" y="3329939"/>
                </a:lnTo>
                <a:lnTo>
                  <a:pt x="4131563" y="3337559"/>
                </a:lnTo>
                <a:lnTo>
                  <a:pt x="4139183" y="3323843"/>
                </a:lnTo>
                <a:close/>
              </a:path>
              <a:path w="4434840" h="4434840">
                <a:moveTo>
                  <a:pt x="4122419" y="3352799"/>
                </a:moveTo>
                <a:lnTo>
                  <a:pt x="4108703" y="3343655"/>
                </a:lnTo>
                <a:lnTo>
                  <a:pt x="4101083" y="3357371"/>
                </a:lnTo>
                <a:lnTo>
                  <a:pt x="4114799" y="3366515"/>
                </a:lnTo>
                <a:lnTo>
                  <a:pt x="4122419" y="3352799"/>
                </a:lnTo>
                <a:close/>
              </a:path>
              <a:path w="4434840" h="4434840">
                <a:moveTo>
                  <a:pt x="4105655" y="3380231"/>
                </a:moveTo>
                <a:lnTo>
                  <a:pt x="4091939" y="3371087"/>
                </a:lnTo>
                <a:lnTo>
                  <a:pt x="4084319" y="3384803"/>
                </a:lnTo>
                <a:lnTo>
                  <a:pt x="4098035" y="3393947"/>
                </a:lnTo>
                <a:lnTo>
                  <a:pt x="4105655" y="3380231"/>
                </a:lnTo>
                <a:close/>
              </a:path>
              <a:path w="4434840" h="4434840">
                <a:moveTo>
                  <a:pt x="4088891" y="3406139"/>
                </a:moveTo>
                <a:lnTo>
                  <a:pt x="4075175" y="3398519"/>
                </a:lnTo>
                <a:lnTo>
                  <a:pt x="4066031" y="3412235"/>
                </a:lnTo>
                <a:lnTo>
                  <a:pt x="4079747" y="3419855"/>
                </a:lnTo>
                <a:lnTo>
                  <a:pt x="4088891" y="3406139"/>
                </a:lnTo>
                <a:close/>
              </a:path>
              <a:path w="4434840" h="4434840">
                <a:moveTo>
                  <a:pt x="4072127" y="3433571"/>
                </a:moveTo>
                <a:lnTo>
                  <a:pt x="4058411" y="3424427"/>
                </a:lnTo>
                <a:lnTo>
                  <a:pt x="4049267" y="3438143"/>
                </a:lnTo>
                <a:lnTo>
                  <a:pt x="4062983" y="3447287"/>
                </a:lnTo>
                <a:lnTo>
                  <a:pt x="4072127" y="3433571"/>
                </a:lnTo>
                <a:close/>
              </a:path>
              <a:path w="4434840" h="4434840">
                <a:moveTo>
                  <a:pt x="4053839" y="3461003"/>
                </a:moveTo>
                <a:lnTo>
                  <a:pt x="4040123" y="3451859"/>
                </a:lnTo>
                <a:lnTo>
                  <a:pt x="4030979" y="3464051"/>
                </a:lnTo>
                <a:lnTo>
                  <a:pt x="4044695" y="3474719"/>
                </a:lnTo>
                <a:lnTo>
                  <a:pt x="4053839" y="3461003"/>
                </a:lnTo>
                <a:close/>
              </a:path>
              <a:path w="4434840" h="4434840">
                <a:moveTo>
                  <a:pt x="4035551" y="3486911"/>
                </a:moveTo>
                <a:lnTo>
                  <a:pt x="4021835" y="3477767"/>
                </a:lnTo>
                <a:lnTo>
                  <a:pt x="4012691" y="3491483"/>
                </a:lnTo>
                <a:lnTo>
                  <a:pt x="4026407" y="3500627"/>
                </a:lnTo>
                <a:lnTo>
                  <a:pt x="4035551" y="3486911"/>
                </a:lnTo>
                <a:close/>
              </a:path>
              <a:path w="4434840" h="4434840">
                <a:moveTo>
                  <a:pt x="4017263" y="3512819"/>
                </a:moveTo>
                <a:lnTo>
                  <a:pt x="4003547" y="3503675"/>
                </a:lnTo>
                <a:lnTo>
                  <a:pt x="3994403" y="3517391"/>
                </a:lnTo>
                <a:lnTo>
                  <a:pt x="4006595" y="3526535"/>
                </a:lnTo>
                <a:lnTo>
                  <a:pt x="4017263" y="3512819"/>
                </a:lnTo>
                <a:close/>
              </a:path>
              <a:path w="4434840" h="4434840">
                <a:moveTo>
                  <a:pt x="3997451" y="3538727"/>
                </a:moveTo>
                <a:lnTo>
                  <a:pt x="3985259" y="3529583"/>
                </a:lnTo>
                <a:lnTo>
                  <a:pt x="3976115" y="3543299"/>
                </a:lnTo>
                <a:lnTo>
                  <a:pt x="3988307" y="3552443"/>
                </a:lnTo>
                <a:lnTo>
                  <a:pt x="3997451" y="3538727"/>
                </a:lnTo>
                <a:close/>
              </a:path>
              <a:path w="4434840" h="4434840">
                <a:moveTo>
                  <a:pt x="3977639" y="3564635"/>
                </a:moveTo>
                <a:lnTo>
                  <a:pt x="3965447" y="3555491"/>
                </a:lnTo>
                <a:lnTo>
                  <a:pt x="3956303" y="3567683"/>
                </a:lnTo>
                <a:lnTo>
                  <a:pt x="3968495" y="3578351"/>
                </a:lnTo>
                <a:lnTo>
                  <a:pt x="3977639" y="3564635"/>
                </a:lnTo>
                <a:close/>
              </a:path>
              <a:path w="4434840" h="4434840">
                <a:moveTo>
                  <a:pt x="3957827" y="3590543"/>
                </a:moveTo>
                <a:lnTo>
                  <a:pt x="3945635" y="3579875"/>
                </a:lnTo>
                <a:lnTo>
                  <a:pt x="3936491" y="3593591"/>
                </a:lnTo>
                <a:lnTo>
                  <a:pt x="3948683" y="3602735"/>
                </a:lnTo>
                <a:lnTo>
                  <a:pt x="3957827" y="3590543"/>
                </a:lnTo>
                <a:close/>
              </a:path>
              <a:path w="4434840" h="4434840">
                <a:moveTo>
                  <a:pt x="3938015" y="3614927"/>
                </a:moveTo>
                <a:lnTo>
                  <a:pt x="3925823" y="3605783"/>
                </a:lnTo>
                <a:lnTo>
                  <a:pt x="3916679" y="3617975"/>
                </a:lnTo>
                <a:lnTo>
                  <a:pt x="3928871" y="3628643"/>
                </a:lnTo>
                <a:lnTo>
                  <a:pt x="3928871" y="3627119"/>
                </a:lnTo>
                <a:lnTo>
                  <a:pt x="3938015" y="3614927"/>
                </a:lnTo>
                <a:close/>
              </a:path>
              <a:path w="4434840" h="4434840">
                <a:moveTo>
                  <a:pt x="3918203" y="3640835"/>
                </a:moveTo>
                <a:lnTo>
                  <a:pt x="3906011" y="3630167"/>
                </a:lnTo>
                <a:lnTo>
                  <a:pt x="3895343" y="3642359"/>
                </a:lnTo>
                <a:lnTo>
                  <a:pt x="3907535" y="3653027"/>
                </a:lnTo>
                <a:lnTo>
                  <a:pt x="3918203" y="3640835"/>
                </a:lnTo>
                <a:close/>
              </a:path>
              <a:path w="4434840" h="4434840">
                <a:moveTo>
                  <a:pt x="3896867" y="3665219"/>
                </a:moveTo>
                <a:lnTo>
                  <a:pt x="3884675" y="3654551"/>
                </a:lnTo>
                <a:lnTo>
                  <a:pt x="3874007" y="3666743"/>
                </a:lnTo>
                <a:lnTo>
                  <a:pt x="3886199" y="3677411"/>
                </a:lnTo>
                <a:lnTo>
                  <a:pt x="3896867" y="3665219"/>
                </a:lnTo>
                <a:close/>
              </a:path>
              <a:path w="4434840" h="4434840">
                <a:moveTo>
                  <a:pt x="3854195" y="3713987"/>
                </a:moveTo>
                <a:lnTo>
                  <a:pt x="3842003" y="3701795"/>
                </a:lnTo>
                <a:lnTo>
                  <a:pt x="3831335" y="3713987"/>
                </a:lnTo>
                <a:lnTo>
                  <a:pt x="3843527" y="3724655"/>
                </a:lnTo>
                <a:lnTo>
                  <a:pt x="3854195" y="3713987"/>
                </a:lnTo>
                <a:close/>
              </a:path>
              <a:path w="4434840" h="4434840">
                <a:moveTo>
                  <a:pt x="3875531" y="3689603"/>
                </a:moveTo>
                <a:lnTo>
                  <a:pt x="3863339" y="3678935"/>
                </a:lnTo>
                <a:lnTo>
                  <a:pt x="3852671" y="3691127"/>
                </a:lnTo>
                <a:lnTo>
                  <a:pt x="3864863" y="3701795"/>
                </a:lnTo>
                <a:lnTo>
                  <a:pt x="3875531" y="3689603"/>
                </a:lnTo>
                <a:close/>
              </a:path>
              <a:path w="4434840" h="4434840">
                <a:moveTo>
                  <a:pt x="3832859" y="3736847"/>
                </a:moveTo>
                <a:lnTo>
                  <a:pt x="3820667" y="3726179"/>
                </a:lnTo>
                <a:lnTo>
                  <a:pt x="3809999" y="3736847"/>
                </a:lnTo>
                <a:lnTo>
                  <a:pt x="3820667" y="3747515"/>
                </a:lnTo>
                <a:lnTo>
                  <a:pt x="3832859" y="3736847"/>
                </a:lnTo>
                <a:close/>
              </a:path>
              <a:path w="4434840" h="4434840">
                <a:moveTo>
                  <a:pt x="3718559" y="3849623"/>
                </a:moveTo>
                <a:lnTo>
                  <a:pt x="3706367" y="3837431"/>
                </a:lnTo>
                <a:lnTo>
                  <a:pt x="3695699" y="3848099"/>
                </a:lnTo>
                <a:lnTo>
                  <a:pt x="3706367" y="3860291"/>
                </a:lnTo>
                <a:lnTo>
                  <a:pt x="3709415" y="3858767"/>
                </a:lnTo>
                <a:lnTo>
                  <a:pt x="3718559" y="3849623"/>
                </a:lnTo>
                <a:close/>
              </a:path>
              <a:path w="4434840" h="4434840">
                <a:moveTo>
                  <a:pt x="3741419" y="3828287"/>
                </a:moveTo>
                <a:lnTo>
                  <a:pt x="3730751" y="3816095"/>
                </a:lnTo>
                <a:lnTo>
                  <a:pt x="3718559" y="3826763"/>
                </a:lnTo>
                <a:lnTo>
                  <a:pt x="3729227" y="3838955"/>
                </a:lnTo>
                <a:lnTo>
                  <a:pt x="3741419" y="3828287"/>
                </a:lnTo>
                <a:close/>
              </a:path>
              <a:path w="4434840" h="4434840">
                <a:moveTo>
                  <a:pt x="3764279" y="3805427"/>
                </a:moveTo>
                <a:lnTo>
                  <a:pt x="3753611" y="3793235"/>
                </a:lnTo>
                <a:lnTo>
                  <a:pt x="3741419" y="3805427"/>
                </a:lnTo>
                <a:lnTo>
                  <a:pt x="3753611" y="3816095"/>
                </a:lnTo>
                <a:lnTo>
                  <a:pt x="3764279" y="3805427"/>
                </a:lnTo>
                <a:close/>
              </a:path>
              <a:path w="4434840" h="4434840">
                <a:moveTo>
                  <a:pt x="3787139" y="3782567"/>
                </a:moveTo>
                <a:lnTo>
                  <a:pt x="3776471" y="3771899"/>
                </a:lnTo>
                <a:lnTo>
                  <a:pt x="3774947" y="3773423"/>
                </a:lnTo>
                <a:lnTo>
                  <a:pt x="3764279" y="3782567"/>
                </a:lnTo>
                <a:lnTo>
                  <a:pt x="3776471" y="3794759"/>
                </a:lnTo>
                <a:lnTo>
                  <a:pt x="3785615" y="3785615"/>
                </a:lnTo>
                <a:lnTo>
                  <a:pt x="3787139" y="3782567"/>
                </a:lnTo>
                <a:close/>
              </a:path>
              <a:path w="4434840" h="4434840">
                <a:moveTo>
                  <a:pt x="3809999" y="3759707"/>
                </a:moveTo>
                <a:lnTo>
                  <a:pt x="3797807" y="3749039"/>
                </a:lnTo>
                <a:lnTo>
                  <a:pt x="3787139" y="3759707"/>
                </a:lnTo>
                <a:lnTo>
                  <a:pt x="3799331" y="3771899"/>
                </a:lnTo>
                <a:lnTo>
                  <a:pt x="3809999" y="3759707"/>
                </a:lnTo>
                <a:close/>
              </a:path>
              <a:path w="4434840" h="4434840">
                <a:moveTo>
                  <a:pt x="3694175" y="3870959"/>
                </a:moveTo>
                <a:lnTo>
                  <a:pt x="3683507" y="3858767"/>
                </a:lnTo>
                <a:lnTo>
                  <a:pt x="3671315" y="3869435"/>
                </a:lnTo>
                <a:lnTo>
                  <a:pt x="3681983" y="3881627"/>
                </a:lnTo>
                <a:lnTo>
                  <a:pt x="3694175" y="3870959"/>
                </a:lnTo>
                <a:close/>
              </a:path>
              <a:path w="4434840" h="4434840">
                <a:moveTo>
                  <a:pt x="3669791" y="3892295"/>
                </a:moveTo>
                <a:lnTo>
                  <a:pt x="3659123" y="3880103"/>
                </a:lnTo>
                <a:lnTo>
                  <a:pt x="3646931" y="3890771"/>
                </a:lnTo>
                <a:lnTo>
                  <a:pt x="3657599" y="3902963"/>
                </a:lnTo>
                <a:lnTo>
                  <a:pt x="3669791" y="3892295"/>
                </a:lnTo>
                <a:close/>
              </a:path>
              <a:path w="4434840" h="4434840">
                <a:moveTo>
                  <a:pt x="3645407" y="3913631"/>
                </a:moveTo>
                <a:lnTo>
                  <a:pt x="3634739" y="3901439"/>
                </a:lnTo>
                <a:lnTo>
                  <a:pt x="3622547" y="3912107"/>
                </a:lnTo>
                <a:lnTo>
                  <a:pt x="3633215" y="3924299"/>
                </a:lnTo>
                <a:lnTo>
                  <a:pt x="3645407" y="3913631"/>
                </a:lnTo>
                <a:close/>
              </a:path>
              <a:path w="4434840" h="4434840">
                <a:moveTo>
                  <a:pt x="3621023" y="3934967"/>
                </a:moveTo>
                <a:lnTo>
                  <a:pt x="3610355" y="3921251"/>
                </a:lnTo>
                <a:lnTo>
                  <a:pt x="3598163" y="3931919"/>
                </a:lnTo>
                <a:lnTo>
                  <a:pt x="3607307" y="3944111"/>
                </a:lnTo>
                <a:lnTo>
                  <a:pt x="3621023" y="3934967"/>
                </a:lnTo>
                <a:close/>
              </a:path>
              <a:path w="4434840" h="4434840">
                <a:moveTo>
                  <a:pt x="3595115" y="3954779"/>
                </a:moveTo>
                <a:lnTo>
                  <a:pt x="3585971" y="3941063"/>
                </a:lnTo>
                <a:lnTo>
                  <a:pt x="3572255" y="3951731"/>
                </a:lnTo>
                <a:lnTo>
                  <a:pt x="3582923" y="3963923"/>
                </a:lnTo>
                <a:lnTo>
                  <a:pt x="3595115" y="3954779"/>
                </a:lnTo>
                <a:close/>
              </a:path>
              <a:path w="4434840" h="4434840">
                <a:moveTo>
                  <a:pt x="3570731" y="3974591"/>
                </a:moveTo>
                <a:lnTo>
                  <a:pt x="3560063" y="3960875"/>
                </a:lnTo>
                <a:lnTo>
                  <a:pt x="3547871" y="3971543"/>
                </a:lnTo>
                <a:lnTo>
                  <a:pt x="3557015" y="3983735"/>
                </a:lnTo>
                <a:lnTo>
                  <a:pt x="3570731" y="3974591"/>
                </a:lnTo>
                <a:close/>
              </a:path>
              <a:path w="4434840" h="4434840">
                <a:moveTo>
                  <a:pt x="3544823" y="3994403"/>
                </a:moveTo>
                <a:lnTo>
                  <a:pt x="3535679" y="3980687"/>
                </a:lnTo>
                <a:lnTo>
                  <a:pt x="3534155" y="3980687"/>
                </a:lnTo>
                <a:lnTo>
                  <a:pt x="3521963" y="3989831"/>
                </a:lnTo>
                <a:lnTo>
                  <a:pt x="3531107" y="4003547"/>
                </a:lnTo>
                <a:lnTo>
                  <a:pt x="3544823" y="3994403"/>
                </a:lnTo>
                <a:close/>
              </a:path>
              <a:path w="4434840" h="4434840">
                <a:moveTo>
                  <a:pt x="3518915" y="4012691"/>
                </a:moveTo>
                <a:lnTo>
                  <a:pt x="3509771" y="3998975"/>
                </a:lnTo>
                <a:lnTo>
                  <a:pt x="3496055" y="4008119"/>
                </a:lnTo>
                <a:lnTo>
                  <a:pt x="3505199" y="4021835"/>
                </a:lnTo>
                <a:lnTo>
                  <a:pt x="3518915" y="4012691"/>
                </a:lnTo>
                <a:close/>
              </a:path>
              <a:path w="4434840" h="4434840">
                <a:moveTo>
                  <a:pt x="3493007" y="4030979"/>
                </a:moveTo>
                <a:lnTo>
                  <a:pt x="3483863" y="4018787"/>
                </a:lnTo>
                <a:lnTo>
                  <a:pt x="3470147" y="4027931"/>
                </a:lnTo>
                <a:lnTo>
                  <a:pt x="3479291" y="4040123"/>
                </a:lnTo>
                <a:lnTo>
                  <a:pt x="3493007" y="4030979"/>
                </a:lnTo>
                <a:close/>
              </a:path>
              <a:path w="4434840" h="4434840">
                <a:moveTo>
                  <a:pt x="3465575" y="4049267"/>
                </a:moveTo>
                <a:lnTo>
                  <a:pt x="3456431" y="4037075"/>
                </a:lnTo>
                <a:lnTo>
                  <a:pt x="3448811" y="4043171"/>
                </a:lnTo>
                <a:lnTo>
                  <a:pt x="3444239" y="4046219"/>
                </a:lnTo>
                <a:lnTo>
                  <a:pt x="3453383" y="4058411"/>
                </a:lnTo>
                <a:lnTo>
                  <a:pt x="3457955" y="4055363"/>
                </a:lnTo>
                <a:lnTo>
                  <a:pt x="3465575" y="4049267"/>
                </a:lnTo>
                <a:close/>
              </a:path>
              <a:path w="4434840" h="4434840">
                <a:moveTo>
                  <a:pt x="3439667" y="4067555"/>
                </a:moveTo>
                <a:lnTo>
                  <a:pt x="3430523" y="4053839"/>
                </a:lnTo>
                <a:lnTo>
                  <a:pt x="3416807" y="4062983"/>
                </a:lnTo>
                <a:lnTo>
                  <a:pt x="3425951" y="4076699"/>
                </a:lnTo>
                <a:lnTo>
                  <a:pt x="3439667" y="4067555"/>
                </a:lnTo>
                <a:close/>
              </a:path>
              <a:path w="4434840" h="4434840">
                <a:moveTo>
                  <a:pt x="3412235" y="4084319"/>
                </a:moveTo>
                <a:lnTo>
                  <a:pt x="3403091" y="4072127"/>
                </a:lnTo>
                <a:lnTo>
                  <a:pt x="3389375" y="4079747"/>
                </a:lnTo>
                <a:lnTo>
                  <a:pt x="3398519" y="4093463"/>
                </a:lnTo>
                <a:lnTo>
                  <a:pt x="3412235" y="4084319"/>
                </a:lnTo>
                <a:close/>
              </a:path>
              <a:path w="4434840" h="4434840">
                <a:moveTo>
                  <a:pt x="3384803" y="4102607"/>
                </a:moveTo>
                <a:lnTo>
                  <a:pt x="3377183" y="4088891"/>
                </a:lnTo>
                <a:lnTo>
                  <a:pt x="3363467" y="4098035"/>
                </a:lnTo>
                <a:lnTo>
                  <a:pt x="3371087" y="4110227"/>
                </a:lnTo>
                <a:lnTo>
                  <a:pt x="3384803" y="4102607"/>
                </a:lnTo>
                <a:close/>
              </a:path>
              <a:path w="4434840" h="4434840">
                <a:moveTo>
                  <a:pt x="3357371" y="4119371"/>
                </a:moveTo>
                <a:lnTo>
                  <a:pt x="3349751" y="4105655"/>
                </a:lnTo>
                <a:lnTo>
                  <a:pt x="3336035" y="4113275"/>
                </a:lnTo>
                <a:lnTo>
                  <a:pt x="3343655" y="4126991"/>
                </a:lnTo>
                <a:lnTo>
                  <a:pt x="3357371" y="4119371"/>
                </a:lnTo>
                <a:close/>
              </a:path>
              <a:path w="4434840" h="4434840">
                <a:moveTo>
                  <a:pt x="3329939" y="4134611"/>
                </a:moveTo>
                <a:lnTo>
                  <a:pt x="3322319" y="4120895"/>
                </a:lnTo>
                <a:lnTo>
                  <a:pt x="3308603" y="4130039"/>
                </a:lnTo>
                <a:lnTo>
                  <a:pt x="3316223" y="4143755"/>
                </a:lnTo>
                <a:lnTo>
                  <a:pt x="3329939" y="4134611"/>
                </a:lnTo>
                <a:close/>
              </a:path>
              <a:path w="4434840" h="4434840">
                <a:moveTo>
                  <a:pt x="3302507" y="4151375"/>
                </a:moveTo>
                <a:lnTo>
                  <a:pt x="3293363" y="4137659"/>
                </a:lnTo>
                <a:lnTo>
                  <a:pt x="3279647" y="4145279"/>
                </a:lnTo>
                <a:lnTo>
                  <a:pt x="3288791" y="4158995"/>
                </a:lnTo>
                <a:lnTo>
                  <a:pt x="3302507" y="4151375"/>
                </a:lnTo>
                <a:close/>
              </a:path>
              <a:path w="4434840" h="4434840">
                <a:moveTo>
                  <a:pt x="3273551" y="4168139"/>
                </a:moveTo>
                <a:lnTo>
                  <a:pt x="3265931" y="4152899"/>
                </a:lnTo>
                <a:lnTo>
                  <a:pt x="3252215" y="4160519"/>
                </a:lnTo>
                <a:lnTo>
                  <a:pt x="3259835" y="4174235"/>
                </a:lnTo>
                <a:lnTo>
                  <a:pt x="3273551" y="4168139"/>
                </a:lnTo>
                <a:close/>
              </a:path>
              <a:path w="4434840" h="4434840">
                <a:moveTo>
                  <a:pt x="3244595" y="4181855"/>
                </a:moveTo>
                <a:lnTo>
                  <a:pt x="3238499" y="4168139"/>
                </a:lnTo>
                <a:lnTo>
                  <a:pt x="3223259" y="4175759"/>
                </a:lnTo>
                <a:lnTo>
                  <a:pt x="3230879" y="4189475"/>
                </a:lnTo>
                <a:lnTo>
                  <a:pt x="3244595" y="4181855"/>
                </a:lnTo>
                <a:close/>
              </a:path>
              <a:path w="4434840" h="4434840">
                <a:moveTo>
                  <a:pt x="3217163" y="4197095"/>
                </a:moveTo>
                <a:lnTo>
                  <a:pt x="3209543" y="4181855"/>
                </a:lnTo>
                <a:lnTo>
                  <a:pt x="3195827" y="4189475"/>
                </a:lnTo>
                <a:lnTo>
                  <a:pt x="3201923" y="4204715"/>
                </a:lnTo>
                <a:lnTo>
                  <a:pt x="3217163" y="4197095"/>
                </a:lnTo>
                <a:close/>
              </a:path>
              <a:path w="4434840" h="4434840">
                <a:moveTo>
                  <a:pt x="3188207" y="4210811"/>
                </a:moveTo>
                <a:lnTo>
                  <a:pt x="3180587" y="4197095"/>
                </a:lnTo>
                <a:lnTo>
                  <a:pt x="3171443" y="4201667"/>
                </a:lnTo>
                <a:lnTo>
                  <a:pt x="3166871" y="4203191"/>
                </a:lnTo>
                <a:lnTo>
                  <a:pt x="3172967" y="4218431"/>
                </a:lnTo>
                <a:lnTo>
                  <a:pt x="3188207" y="4210811"/>
                </a:lnTo>
                <a:close/>
              </a:path>
              <a:path w="4434840" h="4434840">
                <a:moveTo>
                  <a:pt x="3159251" y="4224527"/>
                </a:moveTo>
                <a:lnTo>
                  <a:pt x="3151631" y="4210811"/>
                </a:lnTo>
                <a:lnTo>
                  <a:pt x="3137915" y="4216907"/>
                </a:lnTo>
                <a:lnTo>
                  <a:pt x="3144011" y="4232147"/>
                </a:lnTo>
                <a:lnTo>
                  <a:pt x="3159251" y="4224527"/>
                </a:lnTo>
                <a:close/>
              </a:path>
              <a:path w="4434840" h="4434840">
                <a:moveTo>
                  <a:pt x="3130295" y="4238243"/>
                </a:moveTo>
                <a:lnTo>
                  <a:pt x="3122675" y="4223003"/>
                </a:lnTo>
                <a:lnTo>
                  <a:pt x="3108959" y="4230623"/>
                </a:lnTo>
                <a:lnTo>
                  <a:pt x="3115055" y="4244339"/>
                </a:lnTo>
                <a:lnTo>
                  <a:pt x="3130295" y="4238243"/>
                </a:lnTo>
                <a:close/>
              </a:path>
              <a:path w="4434840" h="4434840">
                <a:moveTo>
                  <a:pt x="3099815" y="4251959"/>
                </a:moveTo>
                <a:lnTo>
                  <a:pt x="3093719" y="4236719"/>
                </a:lnTo>
                <a:lnTo>
                  <a:pt x="3078479" y="4242815"/>
                </a:lnTo>
                <a:lnTo>
                  <a:pt x="3086099" y="4258055"/>
                </a:lnTo>
                <a:lnTo>
                  <a:pt x="3099815" y="4251959"/>
                </a:lnTo>
                <a:close/>
              </a:path>
              <a:path w="4434840" h="4434840">
                <a:moveTo>
                  <a:pt x="3070859" y="4264151"/>
                </a:moveTo>
                <a:lnTo>
                  <a:pt x="3064763" y="4248911"/>
                </a:lnTo>
                <a:lnTo>
                  <a:pt x="3049523" y="4255007"/>
                </a:lnTo>
                <a:lnTo>
                  <a:pt x="3055619" y="4270247"/>
                </a:lnTo>
                <a:lnTo>
                  <a:pt x="3070859" y="4264151"/>
                </a:lnTo>
                <a:close/>
              </a:path>
              <a:path w="4434840" h="4434840">
                <a:moveTo>
                  <a:pt x="3040379" y="4276343"/>
                </a:moveTo>
                <a:lnTo>
                  <a:pt x="3034283" y="4261103"/>
                </a:lnTo>
                <a:lnTo>
                  <a:pt x="3020567" y="4267199"/>
                </a:lnTo>
                <a:lnTo>
                  <a:pt x="3025139" y="4282439"/>
                </a:lnTo>
                <a:lnTo>
                  <a:pt x="3040379" y="4276343"/>
                </a:lnTo>
                <a:close/>
              </a:path>
              <a:path w="4434840" h="4434840">
                <a:moveTo>
                  <a:pt x="3011423" y="4288535"/>
                </a:moveTo>
                <a:lnTo>
                  <a:pt x="3005327" y="4273295"/>
                </a:lnTo>
                <a:lnTo>
                  <a:pt x="2990087" y="4279391"/>
                </a:lnTo>
                <a:lnTo>
                  <a:pt x="2996183" y="4293107"/>
                </a:lnTo>
                <a:lnTo>
                  <a:pt x="3011423" y="4288535"/>
                </a:lnTo>
                <a:close/>
              </a:path>
              <a:path w="4434840" h="4434840">
                <a:moveTo>
                  <a:pt x="2980943" y="4300727"/>
                </a:moveTo>
                <a:lnTo>
                  <a:pt x="2980943" y="4299203"/>
                </a:lnTo>
                <a:lnTo>
                  <a:pt x="2974847" y="4285487"/>
                </a:lnTo>
                <a:lnTo>
                  <a:pt x="2961131" y="4290059"/>
                </a:lnTo>
                <a:lnTo>
                  <a:pt x="2965703" y="4305299"/>
                </a:lnTo>
                <a:lnTo>
                  <a:pt x="2980943" y="4300727"/>
                </a:lnTo>
                <a:close/>
              </a:path>
              <a:path w="4434840" h="4434840">
                <a:moveTo>
                  <a:pt x="2950463" y="4309871"/>
                </a:moveTo>
                <a:lnTo>
                  <a:pt x="2945891" y="4294631"/>
                </a:lnTo>
                <a:lnTo>
                  <a:pt x="2930651" y="4300727"/>
                </a:lnTo>
                <a:lnTo>
                  <a:pt x="2935223" y="4315967"/>
                </a:lnTo>
                <a:lnTo>
                  <a:pt x="2950463" y="4309871"/>
                </a:lnTo>
                <a:close/>
              </a:path>
              <a:path w="4434840" h="4434840">
                <a:moveTo>
                  <a:pt x="2919983" y="4320539"/>
                </a:moveTo>
                <a:lnTo>
                  <a:pt x="2915411" y="4305299"/>
                </a:lnTo>
                <a:lnTo>
                  <a:pt x="2900171" y="4309871"/>
                </a:lnTo>
                <a:lnTo>
                  <a:pt x="2904743" y="4325111"/>
                </a:lnTo>
                <a:lnTo>
                  <a:pt x="2919983" y="4320539"/>
                </a:lnTo>
                <a:close/>
              </a:path>
              <a:path w="4434840" h="4434840">
                <a:moveTo>
                  <a:pt x="2889503" y="4331207"/>
                </a:moveTo>
                <a:lnTo>
                  <a:pt x="2884931" y="4315967"/>
                </a:lnTo>
                <a:lnTo>
                  <a:pt x="2872739" y="4319015"/>
                </a:lnTo>
                <a:lnTo>
                  <a:pt x="2869691" y="4320539"/>
                </a:lnTo>
                <a:lnTo>
                  <a:pt x="2874263" y="4335779"/>
                </a:lnTo>
                <a:lnTo>
                  <a:pt x="2877311" y="4334255"/>
                </a:lnTo>
                <a:lnTo>
                  <a:pt x="2889503" y="4331207"/>
                </a:lnTo>
                <a:close/>
              </a:path>
              <a:path w="4434840" h="4434840">
                <a:moveTo>
                  <a:pt x="2859023" y="4340351"/>
                </a:moveTo>
                <a:lnTo>
                  <a:pt x="2854451" y="4325111"/>
                </a:lnTo>
                <a:lnTo>
                  <a:pt x="2839211" y="4329683"/>
                </a:lnTo>
                <a:lnTo>
                  <a:pt x="2843783" y="4344923"/>
                </a:lnTo>
                <a:lnTo>
                  <a:pt x="2859023" y="4340351"/>
                </a:lnTo>
                <a:close/>
              </a:path>
              <a:path w="4434840" h="4434840">
                <a:moveTo>
                  <a:pt x="2827019" y="4349495"/>
                </a:moveTo>
                <a:lnTo>
                  <a:pt x="2823971" y="4334255"/>
                </a:lnTo>
                <a:lnTo>
                  <a:pt x="2807207" y="4337303"/>
                </a:lnTo>
                <a:lnTo>
                  <a:pt x="2811779" y="4354067"/>
                </a:lnTo>
                <a:lnTo>
                  <a:pt x="2827019" y="4349495"/>
                </a:lnTo>
                <a:close/>
              </a:path>
              <a:path w="4434840" h="4434840">
                <a:moveTo>
                  <a:pt x="2796539" y="4357115"/>
                </a:moveTo>
                <a:lnTo>
                  <a:pt x="2791967" y="4341875"/>
                </a:lnTo>
                <a:lnTo>
                  <a:pt x="2776727" y="4346447"/>
                </a:lnTo>
                <a:lnTo>
                  <a:pt x="2781299" y="4361687"/>
                </a:lnTo>
                <a:lnTo>
                  <a:pt x="2796539" y="4357115"/>
                </a:lnTo>
                <a:close/>
              </a:path>
              <a:path w="4434840" h="4434840">
                <a:moveTo>
                  <a:pt x="2766059" y="4366259"/>
                </a:moveTo>
                <a:lnTo>
                  <a:pt x="2761487" y="4351019"/>
                </a:lnTo>
                <a:lnTo>
                  <a:pt x="2746247" y="4354067"/>
                </a:lnTo>
                <a:lnTo>
                  <a:pt x="2749295" y="4369307"/>
                </a:lnTo>
                <a:lnTo>
                  <a:pt x="2766059" y="4366259"/>
                </a:lnTo>
                <a:close/>
              </a:path>
              <a:path w="4434840" h="4434840">
                <a:moveTo>
                  <a:pt x="2734055" y="4373879"/>
                </a:moveTo>
                <a:lnTo>
                  <a:pt x="2731007" y="4357115"/>
                </a:lnTo>
                <a:lnTo>
                  <a:pt x="2715767" y="4361687"/>
                </a:lnTo>
                <a:lnTo>
                  <a:pt x="2718815" y="4376927"/>
                </a:lnTo>
                <a:lnTo>
                  <a:pt x="2734055" y="4373879"/>
                </a:lnTo>
                <a:close/>
              </a:path>
              <a:path w="4434840" h="4434840">
                <a:moveTo>
                  <a:pt x="2703575" y="4379975"/>
                </a:moveTo>
                <a:lnTo>
                  <a:pt x="2699003" y="4364735"/>
                </a:lnTo>
                <a:lnTo>
                  <a:pt x="2683763" y="4369307"/>
                </a:lnTo>
                <a:lnTo>
                  <a:pt x="2686811" y="4384547"/>
                </a:lnTo>
                <a:lnTo>
                  <a:pt x="2703575" y="4379975"/>
                </a:lnTo>
                <a:close/>
              </a:path>
              <a:path w="4434840" h="4434840">
                <a:moveTo>
                  <a:pt x="2671571" y="4387595"/>
                </a:moveTo>
                <a:lnTo>
                  <a:pt x="2668523" y="4372355"/>
                </a:lnTo>
                <a:lnTo>
                  <a:pt x="2653283" y="4375403"/>
                </a:lnTo>
                <a:lnTo>
                  <a:pt x="2656331" y="4390643"/>
                </a:lnTo>
                <a:lnTo>
                  <a:pt x="2665475" y="4389119"/>
                </a:lnTo>
                <a:lnTo>
                  <a:pt x="2671571" y="4387595"/>
                </a:lnTo>
                <a:close/>
              </a:path>
              <a:path w="4434840" h="4434840">
                <a:moveTo>
                  <a:pt x="2639567" y="4393691"/>
                </a:moveTo>
                <a:lnTo>
                  <a:pt x="2636519" y="4378451"/>
                </a:lnTo>
                <a:lnTo>
                  <a:pt x="2621279" y="4381499"/>
                </a:lnTo>
                <a:lnTo>
                  <a:pt x="2624327" y="4396739"/>
                </a:lnTo>
                <a:lnTo>
                  <a:pt x="2639567" y="4393691"/>
                </a:lnTo>
                <a:close/>
              </a:path>
              <a:path w="4434840" h="4434840">
                <a:moveTo>
                  <a:pt x="2609087" y="4399787"/>
                </a:moveTo>
                <a:lnTo>
                  <a:pt x="2606039" y="4384547"/>
                </a:lnTo>
                <a:lnTo>
                  <a:pt x="2589275" y="4386071"/>
                </a:lnTo>
                <a:lnTo>
                  <a:pt x="2592323" y="4402835"/>
                </a:lnTo>
                <a:lnTo>
                  <a:pt x="2609087" y="4399787"/>
                </a:lnTo>
                <a:close/>
              </a:path>
              <a:path w="4434840" h="4434840">
                <a:moveTo>
                  <a:pt x="2577083" y="4405883"/>
                </a:moveTo>
                <a:lnTo>
                  <a:pt x="2574035" y="4389119"/>
                </a:lnTo>
                <a:lnTo>
                  <a:pt x="2558795" y="4392167"/>
                </a:lnTo>
                <a:lnTo>
                  <a:pt x="2560319" y="4407407"/>
                </a:lnTo>
                <a:lnTo>
                  <a:pt x="2577083" y="4405883"/>
                </a:lnTo>
                <a:close/>
              </a:path>
              <a:path w="4434840" h="4434840">
                <a:moveTo>
                  <a:pt x="2545079" y="4410455"/>
                </a:moveTo>
                <a:lnTo>
                  <a:pt x="2542031" y="4395215"/>
                </a:lnTo>
                <a:lnTo>
                  <a:pt x="2526791" y="4396739"/>
                </a:lnTo>
                <a:lnTo>
                  <a:pt x="2528315" y="4411979"/>
                </a:lnTo>
                <a:lnTo>
                  <a:pt x="2545079" y="4410455"/>
                </a:lnTo>
                <a:close/>
              </a:path>
              <a:path w="4434840" h="4434840">
                <a:moveTo>
                  <a:pt x="2513075" y="4415027"/>
                </a:moveTo>
                <a:lnTo>
                  <a:pt x="2511551" y="4398263"/>
                </a:lnTo>
                <a:lnTo>
                  <a:pt x="2494787" y="4399787"/>
                </a:lnTo>
                <a:lnTo>
                  <a:pt x="2496311" y="4416551"/>
                </a:lnTo>
                <a:lnTo>
                  <a:pt x="2513075" y="4415027"/>
                </a:lnTo>
                <a:close/>
              </a:path>
              <a:path w="4434840" h="4434840">
                <a:moveTo>
                  <a:pt x="2481071" y="4418075"/>
                </a:moveTo>
                <a:lnTo>
                  <a:pt x="2479547" y="4402835"/>
                </a:lnTo>
                <a:lnTo>
                  <a:pt x="2462783" y="4404359"/>
                </a:lnTo>
                <a:lnTo>
                  <a:pt x="2465831" y="4421123"/>
                </a:lnTo>
                <a:lnTo>
                  <a:pt x="2481071" y="4418075"/>
                </a:lnTo>
                <a:close/>
              </a:path>
              <a:path w="4434840" h="4434840">
                <a:moveTo>
                  <a:pt x="2449067" y="4422647"/>
                </a:moveTo>
                <a:lnTo>
                  <a:pt x="2447543" y="4405883"/>
                </a:lnTo>
                <a:lnTo>
                  <a:pt x="2442971" y="4407407"/>
                </a:lnTo>
                <a:lnTo>
                  <a:pt x="2432303" y="4407407"/>
                </a:lnTo>
                <a:lnTo>
                  <a:pt x="2432303" y="4424171"/>
                </a:lnTo>
                <a:lnTo>
                  <a:pt x="2444495" y="4422647"/>
                </a:lnTo>
                <a:lnTo>
                  <a:pt x="2449067" y="4422647"/>
                </a:lnTo>
                <a:close/>
              </a:path>
              <a:path w="4434840" h="4434840">
                <a:moveTo>
                  <a:pt x="2417063" y="4425695"/>
                </a:moveTo>
                <a:lnTo>
                  <a:pt x="2415539" y="4408931"/>
                </a:lnTo>
                <a:lnTo>
                  <a:pt x="2400299" y="4410455"/>
                </a:lnTo>
                <a:lnTo>
                  <a:pt x="2400299" y="4425695"/>
                </a:lnTo>
                <a:lnTo>
                  <a:pt x="2417063" y="4425695"/>
                </a:lnTo>
                <a:close/>
              </a:path>
              <a:path w="4434840" h="4434840">
                <a:moveTo>
                  <a:pt x="2385059" y="4427219"/>
                </a:moveTo>
                <a:lnTo>
                  <a:pt x="2383535" y="4411979"/>
                </a:lnTo>
                <a:lnTo>
                  <a:pt x="2368295" y="4413503"/>
                </a:lnTo>
                <a:lnTo>
                  <a:pt x="2368295" y="4428743"/>
                </a:lnTo>
                <a:lnTo>
                  <a:pt x="2385059" y="4427219"/>
                </a:lnTo>
                <a:close/>
              </a:path>
              <a:path w="4434840" h="4434840">
                <a:moveTo>
                  <a:pt x="2353055" y="4430267"/>
                </a:moveTo>
                <a:lnTo>
                  <a:pt x="2351531" y="4413503"/>
                </a:lnTo>
                <a:lnTo>
                  <a:pt x="2336291" y="4415027"/>
                </a:lnTo>
                <a:lnTo>
                  <a:pt x="2336291" y="4431791"/>
                </a:lnTo>
                <a:lnTo>
                  <a:pt x="2353055" y="4430267"/>
                </a:lnTo>
                <a:close/>
              </a:path>
              <a:path w="4434840" h="4434840">
                <a:moveTo>
                  <a:pt x="2321051" y="4431791"/>
                </a:moveTo>
                <a:lnTo>
                  <a:pt x="2319527" y="4416551"/>
                </a:lnTo>
                <a:lnTo>
                  <a:pt x="2304287" y="4416551"/>
                </a:lnTo>
                <a:lnTo>
                  <a:pt x="2304287" y="4431791"/>
                </a:lnTo>
                <a:lnTo>
                  <a:pt x="2321051" y="4431791"/>
                </a:lnTo>
                <a:close/>
              </a:path>
              <a:path w="4434840" h="4434840">
                <a:moveTo>
                  <a:pt x="2289047" y="4433315"/>
                </a:moveTo>
                <a:lnTo>
                  <a:pt x="2287523" y="4416551"/>
                </a:lnTo>
                <a:lnTo>
                  <a:pt x="2272283" y="4416551"/>
                </a:lnTo>
                <a:lnTo>
                  <a:pt x="2272283" y="4433315"/>
                </a:lnTo>
                <a:lnTo>
                  <a:pt x="2289047" y="4433315"/>
                </a:lnTo>
                <a:close/>
              </a:path>
              <a:path w="4434840" h="4434840">
                <a:moveTo>
                  <a:pt x="2257043" y="4433315"/>
                </a:moveTo>
                <a:lnTo>
                  <a:pt x="2255519" y="4418075"/>
                </a:lnTo>
                <a:lnTo>
                  <a:pt x="2240279" y="4418075"/>
                </a:lnTo>
                <a:lnTo>
                  <a:pt x="2240279" y="4433315"/>
                </a:lnTo>
                <a:lnTo>
                  <a:pt x="2257043" y="4433315"/>
                </a:lnTo>
                <a:close/>
              </a:path>
              <a:path w="4434840" h="4434840">
                <a:moveTo>
                  <a:pt x="2225039" y="4434839"/>
                </a:moveTo>
                <a:lnTo>
                  <a:pt x="2223515" y="4418075"/>
                </a:lnTo>
                <a:lnTo>
                  <a:pt x="2208275" y="4418075"/>
                </a:lnTo>
                <a:lnTo>
                  <a:pt x="2208275" y="4434839"/>
                </a:lnTo>
                <a:lnTo>
                  <a:pt x="2225039" y="4434839"/>
                </a:lnTo>
                <a:close/>
              </a:path>
              <a:path w="4434840" h="4434840">
                <a:moveTo>
                  <a:pt x="2193035" y="4418075"/>
                </a:moveTo>
                <a:lnTo>
                  <a:pt x="2176271" y="4418075"/>
                </a:lnTo>
                <a:lnTo>
                  <a:pt x="2176271" y="4433315"/>
                </a:lnTo>
                <a:lnTo>
                  <a:pt x="2191511" y="4433315"/>
                </a:lnTo>
                <a:lnTo>
                  <a:pt x="2193035" y="4418075"/>
                </a:lnTo>
                <a:close/>
              </a:path>
              <a:path w="4434840" h="4434840">
                <a:moveTo>
                  <a:pt x="2159507" y="4433315"/>
                </a:moveTo>
                <a:lnTo>
                  <a:pt x="2159507" y="4416551"/>
                </a:lnTo>
                <a:lnTo>
                  <a:pt x="2144267" y="4416551"/>
                </a:lnTo>
                <a:lnTo>
                  <a:pt x="2144267" y="4433315"/>
                </a:lnTo>
                <a:lnTo>
                  <a:pt x="2159507" y="4433315"/>
                </a:lnTo>
                <a:close/>
              </a:path>
              <a:path w="4434840" h="4434840">
                <a:moveTo>
                  <a:pt x="2127503" y="4431791"/>
                </a:moveTo>
                <a:lnTo>
                  <a:pt x="2127503" y="4416551"/>
                </a:lnTo>
                <a:lnTo>
                  <a:pt x="2112263" y="4416551"/>
                </a:lnTo>
                <a:lnTo>
                  <a:pt x="2112263" y="4431791"/>
                </a:lnTo>
                <a:lnTo>
                  <a:pt x="2127503" y="4431791"/>
                </a:lnTo>
                <a:close/>
              </a:path>
              <a:path w="4434840" h="4434840">
                <a:moveTo>
                  <a:pt x="2097023" y="4415027"/>
                </a:moveTo>
                <a:lnTo>
                  <a:pt x="2080259" y="4413503"/>
                </a:lnTo>
                <a:lnTo>
                  <a:pt x="2078735" y="4430267"/>
                </a:lnTo>
                <a:lnTo>
                  <a:pt x="2095499" y="4431791"/>
                </a:lnTo>
                <a:lnTo>
                  <a:pt x="2097023" y="4415027"/>
                </a:lnTo>
                <a:close/>
              </a:path>
              <a:path w="4434840" h="4434840">
                <a:moveTo>
                  <a:pt x="2065019" y="4411979"/>
                </a:moveTo>
                <a:lnTo>
                  <a:pt x="2048255" y="4411979"/>
                </a:lnTo>
                <a:lnTo>
                  <a:pt x="2046731" y="4427219"/>
                </a:lnTo>
                <a:lnTo>
                  <a:pt x="2063495" y="4428743"/>
                </a:lnTo>
                <a:lnTo>
                  <a:pt x="2065019" y="4411979"/>
                </a:lnTo>
                <a:close/>
              </a:path>
              <a:path w="4434840" h="4434840">
                <a:moveTo>
                  <a:pt x="2033015" y="4410455"/>
                </a:moveTo>
                <a:lnTo>
                  <a:pt x="2016251" y="4408931"/>
                </a:lnTo>
                <a:lnTo>
                  <a:pt x="2014727" y="4424171"/>
                </a:lnTo>
                <a:lnTo>
                  <a:pt x="2031491" y="4425695"/>
                </a:lnTo>
                <a:lnTo>
                  <a:pt x="2033015" y="4410455"/>
                </a:lnTo>
                <a:close/>
              </a:path>
              <a:path w="4434840" h="4434840">
                <a:moveTo>
                  <a:pt x="2001011" y="4407407"/>
                </a:moveTo>
                <a:lnTo>
                  <a:pt x="1993391" y="4407407"/>
                </a:lnTo>
                <a:lnTo>
                  <a:pt x="1985771" y="4405883"/>
                </a:lnTo>
                <a:lnTo>
                  <a:pt x="1982723" y="4422647"/>
                </a:lnTo>
                <a:lnTo>
                  <a:pt x="1991867" y="4422647"/>
                </a:lnTo>
                <a:lnTo>
                  <a:pt x="1999487" y="4424171"/>
                </a:lnTo>
                <a:lnTo>
                  <a:pt x="2001011" y="4407407"/>
                </a:lnTo>
                <a:close/>
              </a:path>
              <a:path w="4434840" h="4434840">
                <a:moveTo>
                  <a:pt x="1969007" y="4404359"/>
                </a:moveTo>
                <a:lnTo>
                  <a:pt x="1953767" y="4402835"/>
                </a:lnTo>
                <a:lnTo>
                  <a:pt x="1950719" y="4418075"/>
                </a:lnTo>
                <a:lnTo>
                  <a:pt x="1967483" y="4419599"/>
                </a:lnTo>
                <a:lnTo>
                  <a:pt x="1969007" y="4404359"/>
                </a:lnTo>
                <a:close/>
              </a:path>
              <a:path w="4434840" h="4434840">
                <a:moveTo>
                  <a:pt x="1937003" y="4399787"/>
                </a:moveTo>
                <a:lnTo>
                  <a:pt x="1921763" y="4398263"/>
                </a:lnTo>
                <a:lnTo>
                  <a:pt x="1918715" y="4413503"/>
                </a:lnTo>
                <a:lnTo>
                  <a:pt x="1935479" y="4416551"/>
                </a:lnTo>
                <a:lnTo>
                  <a:pt x="1937003" y="4399787"/>
                </a:lnTo>
                <a:close/>
              </a:path>
              <a:path w="4434840" h="4434840">
                <a:moveTo>
                  <a:pt x="1904999" y="4396739"/>
                </a:moveTo>
                <a:lnTo>
                  <a:pt x="1889759" y="4393691"/>
                </a:lnTo>
                <a:lnTo>
                  <a:pt x="1888235" y="4410455"/>
                </a:lnTo>
                <a:lnTo>
                  <a:pt x="1903475" y="4411979"/>
                </a:lnTo>
                <a:lnTo>
                  <a:pt x="1904999" y="4396739"/>
                </a:lnTo>
                <a:close/>
              </a:path>
              <a:path w="4434840" h="4434840">
                <a:moveTo>
                  <a:pt x="1874519" y="4392167"/>
                </a:moveTo>
                <a:lnTo>
                  <a:pt x="1857755" y="4389119"/>
                </a:lnTo>
                <a:lnTo>
                  <a:pt x="1856231" y="4404359"/>
                </a:lnTo>
                <a:lnTo>
                  <a:pt x="1871471" y="4407407"/>
                </a:lnTo>
                <a:lnTo>
                  <a:pt x="1874519" y="4392167"/>
                </a:lnTo>
                <a:close/>
              </a:path>
              <a:path w="4434840" h="4434840">
                <a:moveTo>
                  <a:pt x="1842515" y="4386071"/>
                </a:moveTo>
                <a:lnTo>
                  <a:pt x="1827275" y="4383023"/>
                </a:lnTo>
                <a:lnTo>
                  <a:pt x="1824227" y="4398263"/>
                </a:lnTo>
                <a:lnTo>
                  <a:pt x="1839467" y="4401311"/>
                </a:lnTo>
                <a:lnTo>
                  <a:pt x="1842515" y="4386071"/>
                </a:lnTo>
                <a:close/>
              </a:path>
              <a:path w="4434840" h="4434840">
                <a:moveTo>
                  <a:pt x="1810511" y="4379975"/>
                </a:moveTo>
                <a:lnTo>
                  <a:pt x="1795271" y="4376927"/>
                </a:lnTo>
                <a:lnTo>
                  <a:pt x="1792223" y="4393691"/>
                </a:lnTo>
                <a:lnTo>
                  <a:pt x="1807463" y="4396739"/>
                </a:lnTo>
                <a:lnTo>
                  <a:pt x="1810511" y="4379975"/>
                </a:lnTo>
                <a:close/>
              </a:path>
              <a:path w="4434840" h="4434840">
                <a:moveTo>
                  <a:pt x="1780031" y="4375403"/>
                </a:moveTo>
                <a:lnTo>
                  <a:pt x="1773935" y="4373879"/>
                </a:lnTo>
                <a:lnTo>
                  <a:pt x="1764791" y="4370831"/>
                </a:lnTo>
                <a:lnTo>
                  <a:pt x="1760219" y="4387595"/>
                </a:lnTo>
                <a:lnTo>
                  <a:pt x="1770887" y="4389119"/>
                </a:lnTo>
                <a:lnTo>
                  <a:pt x="1776983" y="4390643"/>
                </a:lnTo>
                <a:lnTo>
                  <a:pt x="1780031" y="4375403"/>
                </a:lnTo>
                <a:close/>
              </a:path>
              <a:path w="4434840" h="4434840">
                <a:moveTo>
                  <a:pt x="1748027" y="4367783"/>
                </a:moveTo>
                <a:lnTo>
                  <a:pt x="1732787" y="4364735"/>
                </a:lnTo>
                <a:lnTo>
                  <a:pt x="1729739" y="4379975"/>
                </a:lnTo>
                <a:lnTo>
                  <a:pt x="1744979" y="4383023"/>
                </a:lnTo>
                <a:lnTo>
                  <a:pt x="1748027" y="4367783"/>
                </a:lnTo>
                <a:close/>
              </a:path>
              <a:path w="4434840" h="4434840">
                <a:moveTo>
                  <a:pt x="1717547" y="4360163"/>
                </a:moveTo>
                <a:lnTo>
                  <a:pt x="1702307" y="4357115"/>
                </a:lnTo>
                <a:lnTo>
                  <a:pt x="1697735" y="4372355"/>
                </a:lnTo>
                <a:lnTo>
                  <a:pt x="1712975" y="4376927"/>
                </a:lnTo>
                <a:lnTo>
                  <a:pt x="1717547" y="4360163"/>
                </a:lnTo>
                <a:close/>
              </a:path>
              <a:path w="4434840" h="4434840">
                <a:moveTo>
                  <a:pt x="1685543" y="4354067"/>
                </a:moveTo>
                <a:lnTo>
                  <a:pt x="1670303" y="4349495"/>
                </a:lnTo>
                <a:lnTo>
                  <a:pt x="1667255" y="4364735"/>
                </a:lnTo>
                <a:lnTo>
                  <a:pt x="1682495" y="4369307"/>
                </a:lnTo>
                <a:lnTo>
                  <a:pt x="1685543" y="4354067"/>
                </a:lnTo>
                <a:close/>
              </a:path>
              <a:path w="4434840" h="4434840">
                <a:moveTo>
                  <a:pt x="1655063" y="4346447"/>
                </a:moveTo>
                <a:lnTo>
                  <a:pt x="1639823" y="4341875"/>
                </a:lnTo>
                <a:lnTo>
                  <a:pt x="1635251" y="4357115"/>
                </a:lnTo>
                <a:lnTo>
                  <a:pt x="1650491" y="4361687"/>
                </a:lnTo>
                <a:lnTo>
                  <a:pt x="1655063" y="4346447"/>
                </a:lnTo>
                <a:close/>
              </a:path>
              <a:path w="4434840" h="4434840">
                <a:moveTo>
                  <a:pt x="1624583" y="4337303"/>
                </a:moveTo>
                <a:lnTo>
                  <a:pt x="1609343" y="4332731"/>
                </a:lnTo>
                <a:lnTo>
                  <a:pt x="1604771" y="4347971"/>
                </a:lnTo>
                <a:lnTo>
                  <a:pt x="1620011" y="4352543"/>
                </a:lnTo>
                <a:lnTo>
                  <a:pt x="1624583" y="4337303"/>
                </a:lnTo>
                <a:close/>
              </a:path>
              <a:path w="4434840" h="4434840">
                <a:moveTo>
                  <a:pt x="1594103" y="4328159"/>
                </a:moveTo>
                <a:lnTo>
                  <a:pt x="1578863" y="4323587"/>
                </a:lnTo>
                <a:lnTo>
                  <a:pt x="1574291" y="4338827"/>
                </a:lnTo>
                <a:lnTo>
                  <a:pt x="1589531" y="4343399"/>
                </a:lnTo>
                <a:lnTo>
                  <a:pt x="1594103" y="4328159"/>
                </a:lnTo>
                <a:close/>
              </a:path>
              <a:path w="4434840" h="4434840">
                <a:moveTo>
                  <a:pt x="1563623" y="4319015"/>
                </a:moveTo>
                <a:lnTo>
                  <a:pt x="1548383" y="4314443"/>
                </a:lnTo>
                <a:lnTo>
                  <a:pt x="1542287" y="4329683"/>
                </a:lnTo>
                <a:lnTo>
                  <a:pt x="1557527" y="4334255"/>
                </a:lnTo>
                <a:lnTo>
                  <a:pt x="1563623" y="4319015"/>
                </a:lnTo>
                <a:close/>
              </a:path>
              <a:path w="4434840" h="4434840">
                <a:moveTo>
                  <a:pt x="1533143" y="4309871"/>
                </a:moveTo>
                <a:lnTo>
                  <a:pt x="1517903" y="4303775"/>
                </a:lnTo>
                <a:lnTo>
                  <a:pt x="1511807" y="4319015"/>
                </a:lnTo>
                <a:lnTo>
                  <a:pt x="1527047" y="4325111"/>
                </a:lnTo>
                <a:lnTo>
                  <a:pt x="1533143" y="4309871"/>
                </a:lnTo>
                <a:close/>
              </a:path>
              <a:path w="4434840" h="4434840">
                <a:moveTo>
                  <a:pt x="1502663" y="4299203"/>
                </a:moveTo>
                <a:lnTo>
                  <a:pt x="1487423" y="4293107"/>
                </a:lnTo>
                <a:lnTo>
                  <a:pt x="1481327" y="4308347"/>
                </a:lnTo>
                <a:lnTo>
                  <a:pt x="1496567" y="4314443"/>
                </a:lnTo>
                <a:lnTo>
                  <a:pt x="1502663" y="4299203"/>
                </a:lnTo>
                <a:close/>
              </a:path>
              <a:path w="4434840" h="4434840">
                <a:moveTo>
                  <a:pt x="1472183" y="4288535"/>
                </a:moveTo>
                <a:lnTo>
                  <a:pt x="1461515" y="4285487"/>
                </a:lnTo>
                <a:lnTo>
                  <a:pt x="1456943" y="4283963"/>
                </a:lnTo>
                <a:lnTo>
                  <a:pt x="1450847" y="4297679"/>
                </a:lnTo>
                <a:lnTo>
                  <a:pt x="1455419" y="4300727"/>
                </a:lnTo>
                <a:lnTo>
                  <a:pt x="1467611" y="4303775"/>
                </a:lnTo>
                <a:lnTo>
                  <a:pt x="1472183" y="4288535"/>
                </a:lnTo>
                <a:close/>
              </a:path>
              <a:path w="4434840" h="4434840">
                <a:moveTo>
                  <a:pt x="1441703" y="4277867"/>
                </a:moveTo>
                <a:lnTo>
                  <a:pt x="1427987" y="4271771"/>
                </a:lnTo>
                <a:lnTo>
                  <a:pt x="1421891" y="4287011"/>
                </a:lnTo>
                <a:lnTo>
                  <a:pt x="1437131" y="4293107"/>
                </a:lnTo>
                <a:lnTo>
                  <a:pt x="1441703" y="4277867"/>
                </a:lnTo>
                <a:close/>
              </a:path>
              <a:path w="4434840" h="4434840">
                <a:moveTo>
                  <a:pt x="1412747" y="4265675"/>
                </a:moveTo>
                <a:lnTo>
                  <a:pt x="1397507" y="4259579"/>
                </a:lnTo>
                <a:lnTo>
                  <a:pt x="1391411" y="4274819"/>
                </a:lnTo>
                <a:lnTo>
                  <a:pt x="1406651" y="4280915"/>
                </a:lnTo>
                <a:lnTo>
                  <a:pt x="1412747" y="4265675"/>
                </a:lnTo>
                <a:close/>
              </a:path>
              <a:path w="4434840" h="4434840">
                <a:moveTo>
                  <a:pt x="1382267" y="4253483"/>
                </a:moveTo>
                <a:lnTo>
                  <a:pt x="1368551" y="4248911"/>
                </a:lnTo>
                <a:lnTo>
                  <a:pt x="1362455" y="4262627"/>
                </a:lnTo>
                <a:lnTo>
                  <a:pt x="1376171" y="4268723"/>
                </a:lnTo>
                <a:lnTo>
                  <a:pt x="1382267" y="4253483"/>
                </a:lnTo>
                <a:close/>
              </a:path>
              <a:path w="4434840" h="4434840">
                <a:moveTo>
                  <a:pt x="1353311" y="4241291"/>
                </a:moveTo>
                <a:lnTo>
                  <a:pt x="1338071" y="4235195"/>
                </a:lnTo>
                <a:lnTo>
                  <a:pt x="1331975" y="4250435"/>
                </a:lnTo>
                <a:lnTo>
                  <a:pt x="1347215" y="4256531"/>
                </a:lnTo>
                <a:lnTo>
                  <a:pt x="1353311" y="4241291"/>
                </a:lnTo>
                <a:close/>
              </a:path>
              <a:path w="4434840" h="4434840">
                <a:moveTo>
                  <a:pt x="1324355" y="4229099"/>
                </a:moveTo>
                <a:lnTo>
                  <a:pt x="1309115" y="4221479"/>
                </a:lnTo>
                <a:lnTo>
                  <a:pt x="1303019" y="4236719"/>
                </a:lnTo>
                <a:lnTo>
                  <a:pt x="1318259" y="4242815"/>
                </a:lnTo>
                <a:lnTo>
                  <a:pt x="1324355" y="4229099"/>
                </a:lnTo>
                <a:close/>
              </a:path>
              <a:path w="4434840" h="4434840">
                <a:moveTo>
                  <a:pt x="1295399" y="4215383"/>
                </a:moveTo>
                <a:lnTo>
                  <a:pt x="1280159" y="4209287"/>
                </a:lnTo>
                <a:lnTo>
                  <a:pt x="1274063" y="4223003"/>
                </a:lnTo>
                <a:lnTo>
                  <a:pt x="1287779" y="4230623"/>
                </a:lnTo>
                <a:lnTo>
                  <a:pt x="1295399" y="4215383"/>
                </a:lnTo>
                <a:close/>
              </a:path>
              <a:path w="4434840" h="4434840">
                <a:moveTo>
                  <a:pt x="1266443" y="4203191"/>
                </a:moveTo>
                <a:lnTo>
                  <a:pt x="1251203" y="4195571"/>
                </a:lnTo>
                <a:lnTo>
                  <a:pt x="1245107" y="4209287"/>
                </a:lnTo>
                <a:lnTo>
                  <a:pt x="1257299" y="4215383"/>
                </a:lnTo>
                <a:lnTo>
                  <a:pt x="1258823" y="4216907"/>
                </a:lnTo>
                <a:lnTo>
                  <a:pt x="1266443" y="4203191"/>
                </a:lnTo>
                <a:close/>
              </a:path>
              <a:path w="4434840" h="4434840">
                <a:moveTo>
                  <a:pt x="1237487" y="4187951"/>
                </a:moveTo>
                <a:lnTo>
                  <a:pt x="1223771" y="4180331"/>
                </a:lnTo>
                <a:lnTo>
                  <a:pt x="1216151" y="4195571"/>
                </a:lnTo>
                <a:lnTo>
                  <a:pt x="1229867" y="4201667"/>
                </a:lnTo>
                <a:lnTo>
                  <a:pt x="1237487" y="4187951"/>
                </a:lnTo>
                <a:close/>
              </a:path>
              <a:path w="4434840" h="4434840">
                <a:moveTo>
                  <a:pt x="1208531" y="4172711"/>
                </a:moveTo>
                <a:lnTo>
                  <a:pt x="1194815" y="4166615"/>
                </a:lnTo>
                <a:lnTo>
                  <a:pt x="1187195" y="4180331"/>
                </a:lnTo>
                <a:lnTo>
                  <a:pt x="1200911" y="4187951"/>
                </a:lnTo>
                <a:lnTo>
                  <a:pt x="1208531" y="4172711"/>
                </a:lnTo>
                <a:close/>
              </a:path>
              <a:path w="4434840" h="4434840">
                <a:moveTo>
                  <a:pt x="1181099" y="4158995"/>
                </a:moveTo>
                <a:lnTo>
                  <a:pt x="1165859" y="4151375"/>
                </a:lnTo>
                <a:lnTo>
                  <a:pt x="1158239" y="4165091"/>
                </a:lnTo>
                <a:lnTo>
                  <a:pt x="1173479" y="4172711"/>
                </a:lnTo>
                <a:lnTo>
                  <a:pt x="1181099" y="4158995"/>
                </a:lnTo>
                <a:close/>
              </a:path>
              <a:path w="4434840" h="4434840">
                <a:moveTo>
                  <a:pt x="1152143" y="4143755"/>
                </a:moveTo>
                <a:lnTo>
                  <a:pt x="1138427" y="4136135"/>
                </a:lnTo>
                <a:lnTo>
                  <a:pt x="1130807" y="4149851"/>
                </a:lnTo>
                <a:lnTo>
                  <a:pt x="1144523" y="4157471"/>
                </a:lnTo>
                <a:lnTo>
                  <a:pt x="1152143" y="4143755"/>
                </a:lnTo>
                <a:close/>
              </a:path>
              <a:path w="4434840" h="4434840">
                <a:moveTo>
                  <a:pt x="1124711" y="4126991"/>
                </a:moveTo>
                <a:lnTo>
                  <a:pt x="1110995" y="4119371"/>
                </a:lnTo>
                <a:lnTo>
                  <a:pt x="1103375" y="4133087"/>
                </a:lnTo>
                <a:lnTo>
                  <a:pt x="1117091" y="4142231"/>
                </a:lnTo>
                <a:lnTo>
                  <a:pt x="1124711" y="4126991"/>
                </a:lnTo>
                <a:close/>
              </a:path>
              <a:path w="4434840" h="4434840">
                <a:moveTo>
                  <a:pt x="1097279" y="4111751"/>
                </a:moveTo>
                <a:lnTo>
                  <a:pt x="1083563" y="4104131"/>
                </a:lnTo>
                <a:lnTo>
                  <a:pt x="1074419" y="4117847"/>
                </a:lnTo>
                <a:lnTo>
                  <a:pt x="1089659" y="4125467"/>
                </a:lnTo>
                <a:lnTo>
                  <a:pt x="1097279" y="4111751"/>
                </a:lnTo>
                <a:close/>
              </a:path>
              <a:path w="4434840" h="4434840">
                <a:moveTo>
                  <a:pt x="1069847" y="4094987"/>
                </a:moveTo>
                <a:lnTo>
                  <a:pt x="1056131" y="4087367"/>
                </a:lnTo>
                <a:lnTo>
                  <a:pt x="1046987" y="4101083"/>
                </a:lnTo>
                <a:lnTo>
                  <a:pt x="1060703" y="4108703"/>
                </a:lnTo>
                <a:lnTo>
                  <a:pt x="1069847" y="4094987"/>
                </a:lnTo>
                <a:close/>
              </a:path>
              <a:path w="4434840" h="4434840">
                <a:moveTo>
                  <a:pt x="1042415" y="4078223"/>
                </a:moveTo>
                <a:lnTo>
                  <a:pt x="1028699" y="4069079"/>
                </a:lnTo>
                <a:lnTo>
                  <a:pt x="1021079" y="4082795"/>
                </a:lnTo>
                <a:lnTo>
                  <a:pt x="1034795" y="4091939"/>
                </a:lnTo>
                <a:lnTo>
                  <a:pt x="1042415" y="4078223"/>
                </a:lnTo>
                <a:close/>
              </a:path>
              <a:path w="4434840" h="4434840">
                <a:moveTo>
                  <a:pt x="1014983" y="4061459"/>
                </a:moveTo>
                <a:lnTo>
                  <a:pt x="1002791" y="4052315"/>
                </a:lnTo>
                <a:lnTo>
                  <a:pt x="993647" y="4066031"/>
                </a:lnTo>
                <a:lnTo>
                  <a:pt x="1007363" y="4073651"/>
                </a:lnTo>
                <a:lnTo>
                  <a:pt x="1014983" y="4061459"/>
                </a:lnTo>
                <a:close/>
              </a:path>
              <a:path w="4434840" h="4434840">
                <a:moveTo>
                  <a:pt x="989075" y="4043171"/>
                </a:moveTo>
                <a:lnTo>
                  <a:pt x="987551" y="4043171"/>
                </a:lnTo>
                <a:lnTo>
                  <a:pt x="975359" y="4034027"/>
                </a:lnTo>
                <a:lnTo>
                  <a:pt x="966215" y="4047743"/>
                </a:lnTo>
                <a:lnTo>
                  <a:pt x="978407" y="4055363"/>
                </a:lnTo>
                <a:lnTo>
                  <a:pt x="979931" y="4056887"/>
                </a:lnTo>
                <a:lnTo>
                  <a:pt x="989075" y="4043171"/>
                </a:lnTo>
                <a:close/>
              </a:path>
              <a:path w="4434840" h="4434840">
                <a:moveTo>
                  <a:pt x="963167" y="4024883"/>
                </a:moveTo>
                <a:lnTo>
                  <a:pt x="949451" y="4015739"/>
                </a:lnTo>
                <a:lnTo>
                  <a:pt x="940307" y="4029455"/>
                </a:lnTo>
                <a:lnTo>
                  <a:pt x="954023" y="4038599"/>
                </a:lnTo>
                <a:lnTo>
                  <a:pt x="963167" y="4024883"/>
                </a:lnTo>
                <a:close/>
              </a:path>
              <a:path w="4434840" h="4434840">
                <a:moveTo>
                  <a:pt x="937259" y="4006595"/>
                </a:moveTo>
                <a:lnTo>
                  <a:pt x="923543" y="3997451"/>
                </a:lnTo>
                <a:lnTo>
                  <a:pt x="914399" y="4011167"/>
                </a:lnTo>
                <a:lnTo>
                  <a:pt x="928115" y="4020311"/>
                </a:lnTo>
                <a:lnTo>
                  <a:pt x="937259" y="4006595"/>
                </a:lnTo>
                <a:close/>
              </a:path>
              <a:path w="4434840" h="4434840">
                <a:moveTo>
                  <a:pt x="909827" y="3988307"/>
                </a:moveTo>
                <a:lnTo>
                  <a:pt x="900683" y="3980687"/>
                </a:lnTo>
                <a:lnTo>
                  <a:pt x="897635" y="3979163"/>
                </a:lnTo>
                <a:lnTo>
                  <a:pt x="888491" y="3991355"/>
                </a:lnTo>
                <a:lnTo>
                  <a:pt x="891539" y="3994403"/>
                </a:lnTo>
                <a:lnTo>
                  <a:pt x="900683" y="4000499"/>
                </a:lnTo>
                <a:lnTo>
                  <a:pt x="909827" y="3988307"/>
                </a:lnTo>
                <a:close/>
              </a:path>
              <a:path w="4434840" h="4434840">
                <a:moveTo>
                  <a:pt x="885443" y="3968495"/>
                </a:moveTo>
                <a:lnTo>
                  <a:pt x="873251" y="3959351"/>
                </a:lnTo>
                <a:lnTo>
                  <a:pt x="862583" y="3971543"/>
                </a:lnTo>
                <a:lnTo>
                  <a:pt x="874775" y="3982211"/>
                </a:lnTo>
                <a:lnTo>
                  <a:pt x="885443" y="3968495"/>
                </a:lnTo>
                <a:close/>
              </a:path>
              <a:path w="4434840" h="4434840">
                <a:moveTo>
                  <a:pt x="859535" y="3948683"/>
                </a:moveTo>
                <a:lnTo>
                  <a:pt x="847343" y="3939539"/>
                </a:lnTo>
                <a:lnTo>
                  <a:pt x="838199" y="3951731"/>
                </a:lnTo>
                <a:lnTo>
                  <a:pt x="850391" y="3962399"/>
                </a:lnTo>
                <a:lnTo>
                  <a:pt x="859535" y="3948683"/>
                </a:lnTo>
                <a:close/>
              </a:path>
              <a:path w="4434840" h="4434840">
                <a:moveTo>
                  <a:pt x="835151" y="3928871"/>
                </a:moveTo>
                <a:lnTo>
                  <a:pt x="822959" y="3919727"/>
                </a:lnTo>
                <a:lnTo>
                  <a:pt x="812291" y="3931919"/>
                </a:lnTo>
                <a:lnTo>
                  <a:pt x="824483" y="3942587"/>
                </a:lnTo>
                <a:lnTo>
                  <a:pt x="835151" y="3928871"/>
                </a:lnTo>
                <a:close/>
              </a:path>
              <a:path w="4434840" h="4434840">
                <a:moveTo>
                  <a:pt x="810767" y="3909059"/>
                </a:moveTo>
                <a:lnTo>
                  <a:pt x="798575" y="3898391"/>
                </a:lnTo>
                <a:lnTo>
                  <a:pt x="787907" y="3910583"/>
                </a:lnTo>
                <a:lnTo>
                  <a:pt x="800099" y="3921251"/>
                </a:lnTo>
                <a:lnTo>
                  <a:pt x="810767" y="3909059"/>
                </a:lnTo>
                <a:close/>
              </a:path>
              <a:path w="4434840" h="4434840">
                <a:moveTo>
                  <a:pt x="786383" y="3887723"/>
                </a:moveTo>
                <a:lnTo>
                  <a:pt x="774191" y="3878579"/>
                </a:lnTo>
                <a:lnTo>
                  <a:pt x="763523" y="3890771"/>
                </a:lnTo>
                <a:lnTo>
                  <a:pt x="775715" y="3899915"/>
                </a:lnTo>
                <a:lnTo>
                  <a:pt x="786383" y="3887723"/>
                </a:lnTo>
                <a:close/>
              </a:path>
              <a:path w="4434840" h="4434840">
                <a:moveTo>
                  <a:pt x="761999" y="3867911"/>
                </a:moveTo>
                <a:lnTo>
                  <a:pt x="749807" y="3857243"/>
                </a:lnTo>
                <a:lnTo>
                  <a:pt x="739139" y="3869435"/>
                </a:lnTo>
                <a:lnTo>
                  <a:pt x="751331" y="3880103"/>
                </a:lnTo>
                <a:lnTo>
                  <a:pt x="761999" y="3867911"/>
                </a:lnTo>
                <a:close/>
              </a:path>
              <a:path w="4434840" h="4434840">
                <a:moveTo>
                  <a:pt x="691895" y="3802379"/>
                </a:moveTo>
                <a:lnTo>
                  <a:pt x="679703" y="3791711"/>
                </a:lnTo>
                <a:lnTo>
                  <a:pt x="669035" y="3802379"/>
                </a:lnTo>
                <a:lnTo>
                  <a:pt x="679703" y="3814571"/>
                </a:lnTo>
                <a:lnTo>
                  <a:pt x="691895" y="3802379"/>
                </a:lnTo>
                <a:close/>
              </a:path>
              <a:path w="4434840" h="4434840">
                <a:moveTo>
                  <a:pt x="714755" y="3825239"/>
                </a:moveTo>
                <a:lnTo>
                  <a:pt x="702563" y="3813047"/>
                </a:lnTo>
                <a:lnTo>
                  <a:pt x="691895" y="3825239"/>
                </a:lnTo>
                <a:lnTo>
                  <a:pt x="704087" y="3835907"/>
                </a:lnTo>
                <a:lnTo>
                  <a:pt x="714755" y="3825239"/>
                </a:lnTo>
                <a:close/>
              </a:path>
              <a:path w="4434840" h="4434840">
                <a:moveTo>
                  <a:pt x="737615" y="3846575"/>
                </a:moveTo>
                <a:lnTo>
                  <a:pt x="726947" y="3835907"/>
                </a:lnTo>
                <a:lnTo>
                  <a:pt x="714755" y="3846575"/>
                </a:lnTo>
                <a:lnTo>
                  <a:pt x="726947" y="3858767"/>
                </a:lnTo>
                <a:lnTo>
                  <a:pt x="737615" y="3846575"/>
                </a:lnTo>
                <a:close/>
              </a:path>
              <a:path w="4434840" h="4434840">
                <a:moveTo>
                  <a:pt x="623315" y="3733799"/>
                </a:moveTo>
                <a:lnTo>
                  <a:pt x="612647" y="3723131"/>
                </a:lnTo>
                <a:lnTo>
                  <a:pt x="601979" y="3733799"/>
                </a:lnTo>
                <a:lnTo>
                  <a:pt x="612647" y="3745991"/>
                </a:lnTo>
                <a:lnTo>
                  <a:pt x="623315" y="3733799"/>
                </a:lnTo>
                <a:close/>
              </a:path>
              <a:path w="4434840" h="4434840">
                <a:moveTo>
                  <a:pt x="646175" y="3758183"/>
                </a:moveTo>
                <a:lnTo>
                  <a:pt x="635507" y="3745991"/>
                </a:lnTo>
                <a:lnTo>
                  <a:pt x="623315" y="3756659"/>
                </a:lnTo>
                <a:lnTo>
                  <a:pt x="633983" y="3768851"/>
                </a:lnTo>
                <a:lnTo>
                  <a:pt x="646175" y="3758183"/>
                </a:lnTo>
                <a:close/>
              </a:path>
              <a:path w="4434840" h="4434840">
                <a:moveTo>
                  <a:pt x="667511" y="3781043"/>
                </a:moveTo>
                <a:lnTo>
                  <a:pt x="661415" y="3773423"/>
                </a:lnTo>
                <a:lnTo>
                  <a:pt x="656843" y="3768851"/>
                </a:lnTo>
                <a:lnTo>
                  <a:pt x="646175" y="3781043"/>
                </a:lnTo>
                <a:lnTo>
                  <a:pt x="656843" y="3791711"/>
                </a:lnTo>
                <a:lnTo>
                  <a:pt x="667511" y="3781043"/>
                </a:lnTo>
                <a:close/>
              </a:path>
              <a:path w="4434840" h="4434840">
                <a:moveTo>
                  <a:pt x="601979" y="3710939"/>
                </a:moveTo>
                <a:lnTo>
                  <a:pt x="591311" y="3700271"/>
                </a:lnTo>
                <a:lnTo>
                  <a:pt x="579119" y="3710939"/>
                </a:lnTo>
                <a:lnTo>
                  <a:pt x="589787" y="3721607"/>
                </a:lnTo>
                <a:lnTo>
                  <a:pt x="601979" y="3710939"/>
                </a:lnTo>
                <a:close/>
              </a:path>
              <a:path w="4434840" h="4434840">
                <a:moveTo>
                  <a:pt x="580643" y="3688079"/>
                </a:moveTo>
                <a:lnTo>
                  <a:pt x="569975" y="3675887"/>
                </a:lnTo>
                <a:lnTo>
                  <a:pt x="557783" y="3686555"/>
                </a:lnTo>
                <a:lnTo>
                  <a:pt x="568451" y="3698747"/>
                </a:lnTo>
                <a:lnTo>
                  <a:pt x="580643" y="3688079"/>
                </a:lnTo>
                <a:close/>
              </a:path>
              <a:path w="4434840" h="4434840">
                <a:moveTo>
                  <a:pt x="559307" y="3663695"/>
                </a:moveTo>
                <a:lnTo>
                  <a:pt x="548639" y="3651503"/>
                </a:lnTo>
                <a:lnTo>
                  <a:pt x="536447" y="3662171"/>
                </a:lnTo>
                <a:lnTo>
                  <a:pt x="547115" y="3674363"/>
                </a:lnTo>
                <a:lnTo>
                  <a:pt x="559307" y="3663695"/>
                </a:lnTo>
                <a:close/>
              </a:path>
              <a:path w="4434840" h="4434840">
                <a:moveTo>
                  <a:pt x="537971" y="3639311"/>
                </a:moveTo>
                <a:lnTo>
                  <a:pt x="527303" y="3627119"/>
                </a:lnTo>
                <a:lnTo>
                  <a:pt x="515111" y="3637787"/>
                </a:lnTo>
                <a:lnTo>
                  <a:pt x="525779" y="3649979"/>
                </a:lnTo>
                <a:lnTo>
                  <a:pt x="537971" y="3639311"/>
                </a:lnTo>
                <a:close/>
              </a:path>
              <a:path w="4434840" h="4434840">
                <a:moveTo>
                  <a:pt x="518159" y="3614927"/>
                </a:moveTo>
                <a:lnTo>
                  <a:pt x="507491" y="3602735"/>
                </a:lnTo>
                <a:lnTo>
                  <a:pt x="495299" y="3613403"/>
                </a:lnTo>
                <a:lnTo>
                  <a:pt x="504443" y="3625595"/>
                </a:lnTo>
                <a:lnTo>
                  <a:pt x="518159" y="3614927"/>
                </a:lnTo>
                <a:close/>
              </a:path>
              <a:path w="4434840" h="4434840">
                <a:moveTo>
                  <a:pt x="498347" y="3590543"/>
                </a:moveTo>
                <a:lnTo>
                  <a:pt x="487679" y="3576827"/>
                </a:lnTo>
                <a:lnTo>
                  <a:pt x="475487" y="3587495"/>
                </a:lnTo>
                <a:lnTo>
                  <a:pt x="484631" y="3599687"/>
                </a:lnTo>
                <a:lnTo>
                  <a:pt x="498347" y="3590543"/>
                </a:lnTo>
                <a:close/>
              </a:path>
              <a:path w="4434840" h="4434840">
                <a:moveTo>
                  <a:pt x="478535" y="3564635"/>
                </a:moveTo>
                <a:lnTo>
                  <a:pt x="467867" y="3552443"/>
                </a:lnTo>
                <a:lnTo>
                  <a:pt x="455675" y="3561587"/>
                </a:lnTo>
                <a:lnTo>
                  <a:pt x="464819" y="3575303"/>
                </a:lnTo>
                <a:lnTo>
                  <a:pt x="478535" y="3564635"/>
                </a:lnTo>
                <a:close/>
              </a:path>
              <a:path w="4434840" h="4434840">
                <a:moveTo>
                  <a:pt x="458723" y="3540251"/>
                </a:moveTo>
                <a:lnTo>
                  <a:pt x="454151" y="3534155"/>
                </a:lnTo>
                <a:lnTo>
                  <a:pt x="449579" y="3526535"/>
                </a:lnTo>
                <a:lnTo>
                  <a:pt x="435863" y="3537203"/>
                </a:lnTo>
                <a:lnTo>
                  <a:pt x="445007" y="3549395"/>
                </a:lnTo>
                <a:lnTo>
                  <a:pt x="458723" y="3540251"/>
                </a:lnTo>
                <a:close/>
              </a:path>
              <a:path w="4434840" h="4434840">
                <a:moveTo>
                  <a:pt x="438911" y="3514343"/>
                </a:moveTo>
                <a:lnTo>
                  <a:pt x="429767" y="3500627"/>
                </a:lnTo>
                <a:lnTo>
                  <a:pt x="417575" y="3509771"/>
                </a:lnTo>
                <a:lnTo>
                  <a:pt x="426719" y="3523487"/>
                </a:lnTo>
                <a:lnTo>
                  <a:pt x="438911" y="3514343"/>
                </a:lnTo>
                <a:close/>
              </a:path>
              <a:path w="4434840" h="4434840">
                <a:moveTo>
                  <a:pt x="420623" y="3488435"/>
                </a:moveTo>
                <a:lnTo>
                  <a:pt x="411479" y="3474719"/>
                </a:lnTo>
                <a:lnTo>
                  <a:pt x="399287" y="3483863"/>
                </a:lnTo>
                <a:lnTo>
                  <a:pt x="408431" y="3497579"/>
                </a:lnTo>
                <a:lnTo>
                  <a:pt x="420623" y="3488435"/>
                </a:lnTo>
                <a:close/>
              </a:path>
              <a:path w="4434840" h="4434840">
                <a:moveTo>
                  <a:pt x="402335" y="3462527"/>
                </a:moveTo>
                <a:lnTo>
                  <a:pt x="393191" y="3448811"/>
                </a:lnTo>
                <a:lnTo>
                  <a:pt x="379475" y="3457955"/>
                </a:lnTo>
                <a:lnTo>
                  <a:pt x="388619" y="3471671"/>
                </a:lnTo>
                <a:lnTo>
                  <a:pt x="402335" y="3462527"/>
                </a:lnTo>
                <a:close/>
              </a:path>
              <a:path w="4434840" h="4434840">
                <a:moveTo>
                  <a:pt x="384047" y="3435095"/>
                </a:moveTo>
                <a:lnTo>
                  <a:pt x="376427" y="3422903"/>
                </a:lnTo>
                <a:lnTo>
                  <a:pt x="362711" y="3430523"/>
                </a:lnTo>
                <a:lnTo>
                  <a:pt x="371855" y="3444239"/>
                </a:lnTo>
                <a:lnTo>
                  <a:pt x="384047" y="3435095"/>
                </a:lnTo>
                <a:close/>
              </a:path>
              <a:path w="4434840" h="4434840">
                <a:moveTo>
                  <a:pt x="367283" y="3409187"/>
                </a:moveTo>
                <a:lnTo>
                  <a:pt x="358139" y="3395471"/>
                </a:lnTo>
                <a:lnTo>
                  <a:pt x="344423" y="3403091"/>
                </a:lnTo>
                <a:lnTo>
                  <a:pt x="353567" y="3416807"/>
                </a:lnTo>
                <a:lnTo>
                  <a:pt x="367283" y="3409187"/>
                </a:lnTo>
                <a:close/>
              </a:path>
              <a:path w="4434840" h="4434840">
                <a:moveTo>
                  <a:pt x="350519" y="3381755"/>
                </a:moveTo>
                <a:lnTo>
                  <a:pt x="341375" y="3368039"/>
                </a:lnTo>
                <a:lnTo>
                  <a:pt x="327659" y="3377183"/>
                </a:lnTo>
                <a:lnTo>
                  <a:pt x="336803" y="3390899"/>
                </a:lnTo>
                <a:lnTo>
                  <a:pt x="350519" y="3381755"/>
                </a:lnTo>
                <a:close/>
              </a:path>
              <a:path w="4434840" h="4434840">
                <a:moveTo>
                  <a:pt x="333755" y="3354323"/>
                </a:moveTo>
                <a:lnTo>
                  <a:pt x="324611" y="3340607"/>
                </a:lnTo>
                <a:lnTo>
                  <a:pt x="310895" y="3348227"/>
                </a:lnTo>
                <a:lnTo>
                  <a:pt x="318515" y="3363467"/>
                </a:lnTo>
                <a:lnTo>
                  <a:pt x="333755" y="3354323"/>
                </a:lnTo>
                <a:close/>
              </a:path>
              <a:path w="4434840" h="4434840">
                <a:moveTo>
                  <a:pt x="316991" y="3326891"/>
                </a:moveTo>
                <a:lnTo>
                  <a:pt x="309371" y="3313175"/>
                </a:lnTo>
                <a:lnTo>
                  <a:pt x="295655" y="3320795"/>
                </a:lnTo>
                <a:lnTo>
                  <a:pt x="303275" y="3334511"/>
                </a:lnTo>
                <a:lnTo>
                  <a:pt x="316991" y="3326891"/>
                </a:lnTo>
                <a:close/>
              </a:path>
              <a:path w="4434840" h="4434840">
                <a:moveTo>
                  <a:pt x="301751" y="3299459"/>
                </a:moveTo>
                <a:lnTo>
                  <a:pt x="292607" y="3285743"/>
                </a:lnTo>
                <a:lnTo>
                  <a:pt x="278891" y="3293363"/>
                </a:lnTo>
                <a:lnTo>
                  <a:pt x="286511" y="3307079"/>
                </a:lnTo>
                <a:lnTo>
                  <a:pt x="301751" y="3299459"/>
                </a:lnTo>
                <a:close/>
              </a:path>
              <a:path w="4434840" h="4434840">
                <a:moveTo>
                  <a:pt x="284987" y="3272027"/>
                </a:moveTo>
                <a:lnTo>
                  <a:pt x="281939" y="3265931"/>
                </a:lnTo>
                <a:lnTo>
                  <a:pt x="277367" y="3258311"/>
                </a:lnTo>
                <a:lnTo>
                  <a:pt x="263651" y="3264407"/>
                </a:lnTo>
                <a:lnTo>
                  <a:pt x="271271" y="3279647"/>
                </a:lnTo>
                <a:lnTo>
                  <a:pt x="284987" y="3272027"/>
                </a:lnTo>
                <a:close/>
              </a:path>
              <a:path w="4434840" h="4434840">
                <a:moveTo>
                  <a:pt x="269747" y="3243071"/>
                </a:moveTo>
                <a:lnTo>
                  <a:pt x="263651" y="3229355"/>
                </a:lnTo>
                <a:lnTo>
                  <a:pt x="248411" y="3236975"/>
                </a:lnTo>
                <a:lnTo>
                  <a:pt x="256031" y="3250691"/>
                </a:lnTo>
                <a:lnTo>
                  <a:pt x="269747" y="3243071"/>
                </a:lnTo>
                <a:close/>
              </a:path>
              <a:path w="4434840" h="4434840">
                <a:moveTo>
                  <a:pt x="256031" y="3214115"/>
                </a:moveTo>
                <a:lnTo>
                  <a:pt x="248411" y="3200399"/>
                </a:lnTo>
                <a:lnTo>
                  <a:pt x="234695" y="3208019"/>
                </a:lnTo>
                <a:lnTo>
                  <a:pt x="242315" y="3221735"/>
                </a:lnTo>
                <a:lnTo>
                  <a:pt x="256031" y="3214115"/>
                </a:lnTo>
                <a:close/>
              </a:path>
              <a:path w="4434840" h="4434840">
                <a:moveTo>
                  <a:pt x="240791" y="3186683"/>
                </a:moveTo>
                <a:lnTo>
                  <a:pt x="233171" y="3171443"/>
                </a:lnTo>
                <a:lnTo>
                  <a:pt x="219455" y="3179063"/>
                </a:lnTo>
                <a:lnTo>
                  <a:pt x="227075" y="3194303"/>
                </a:lnTo>
                <a:lnTo>
                  <a:pt x="240791" y="3186683"/>
                </a:lnTo>
                <a:close/>
              </a:path>
              <a:path w="4434840" h="4434840">
                <a:moveTo>
                  <a:pt x="227075" y="3157727"/>
                </a:moveTo>
                <a:lnTo>
                  <a:pt x="220979" y="3142487"/>
                </a:lnTo>
                <a:lnTo>
                  <a:pt x="205739" y="3150107"/>
                </a:lnTo>
                <a:lnTo>
                  <a:pt x="213359" y="3163823"/>
                </a:lnTo>
                <a:lnTo>
                  <a:pt x="227075" y="3157727"/>
                </a:lnTo>
                <a:close/>
              </a:path>
              <a:path w="4434840" h="4434840">
                <a:moveTo>
                  <a:pt x="214883" y="3128771"/>
                </a:moveTo>
                <a:lnTo>
                  <a:pt x="207263" y="3113531"/>
                </a:lnTo>
                <a:lnTo>
                  <a:pt x="193547" y="3121151"/>
                </a:lnTo>
                <a:lnTo>
                  <a:pt x="199643" y="3134867"/>
                </a:lnTo>
                <a:lnTo>
                  <a:pt x="214883" y="3128771"/>
                </a:lnTo>
                <a:close/>
              </a:path>
              <a:path w="4434840" h="4434840">
                <a:moveTo>
                  <a:pt x="201167" y="3099815"/>
                </a:moveTo>
                <a:lnTo>
                  <a:pt x="195071" y="3084575"/>
                </a:lnTo>
                <a:lnTo>
                  <a:pt x="179831" y="3090671"/>
                </a:lnTo>
                <a:lnTo>
                  <a:pt x="185927" y="3105911"/>
                </a:lnTo>
                <a:lnTo>
                  <a:pt x="201167" y="3099815"/>
                </a:lnTo>
                <a:close/>
              </a:path>
              <a:path w="4434840" h="4434840">
                <a:moveTo>
                  <a:pt x="187451" y="3070859"/>
                </a:moveTo>
                <a:lnTo>
                  <a:pt x="182879" y="3055619"/>
                </a:lnTo>
                <a:lnTo>
                  <a:pt x="167639" y="3061715"/>
                </a:lnTo>
                <a:lnTo>
                  <a:pt x="173735" y="3076955"/>
                </a:lnTo>
                <a:lnTo>
                  <a:pt x="187451" y="3070859"/>
                </a:lnTo>
                <a:close/>
              </a:path>
              <a:path w="4434840" h="4434840">
                <a:moveTo>
                  <a:pt x="176783" y="3040379"/>
                </a:moveTo>
                <a:lnTo>
                  <a:pt x="170687" y="3025139"/>
                </a:lnTo>
                <a:lnTo>
                  <a:pt x="155447" y="3031235"/>
                </a:lnTo>
                <a:lnTo>
                  <a:pt x="161543" y="3046475"/>
                </a:lnTo>
                <a:lnTo>
                  <a:pt x="176783" y="3040379"/>
                </a:lnTo>
                <a:close/>
              </a:path>
              <a:path w="4434840" h="4434840">
                <a:moveTo>
                  <a:pt x="164591" y="3011423"/>
                </a:moveTo>
                <a:lnTo>
                  <a:pt x="158495" y="2996183"/>
                </a:lnTo>
                <a:lnTo>
                  <a:pt x="143255" y="3002279"/>
                </a:lnTo>
                <a:lnTo>
                  <a:pt x="149351" y="3015995"/>
                </a:lnTo>
                <a:lnTo>
                  <a:pt x="164591" y="3011423"/>
                </a:lnTo>
                <a:close/>
              </a:path>
              <a:path w="4434840" h="4434840">
                <a:moveTo>
                  <a:pt x="152399" y="2980943"/>
                </a:moveTo>
                <a:lnTo>
                  <a:pt x="150875" y="2973323"/>
                </a:lnTo>
                <a:lnTo>
                  <a:pt x="147827" y="2965703"/>
                </a:lnTo>
                <a:lnTo>
                  <a:pt x="132587" y="2971799"/>
                </a:lnTo>
                <a:lnTo>
                  <a:pt x="138683" y="2987039"/>
                </a:lnTo>
                <a:lnTo>
                  <a:pt x="152399" y="2980943"/>
                </a:lnTo>
                <a:close/>
              </a:path>
              <a:path w="4434840" h="4434840">
                <a:moveTo>
                  <a:pt x="141731" y="2950463"/>
                </a:moveTo>
                <a:lnTo>
                  <a:pt x="137159" y="2935223"/>
                </a:lnTo>
                <a:lnTo>
                  <a:pt x="121919" y="2941319"/>
                </a:lnTo>
                <a:lnTo>
                  <a:pt x="126491" y="2956559"/>
                </a:lnTo>
                <a:lnTo>
                  <a:pt x="141731" y="2950463"/>
                </a:lnTo>
                <a:close/>
              </a:path>
              <a:path w="4434840" h="4434840">
                <a:moveTo>
                  <a:pt x="132587" y="2919983"/>
                </a:moveTo>
                <a:lnTo>
                  <a:pt x="126491" y="2904743"/>
                </a:lnTo>
                <a:lnTo>
                  <a:pt x="111251" y="2910839"/>
                </a:lnTo>
                <a:lnTo>
                  <a:pt x="117347" y="2926079"/>
                </a:lnTo>
                <a:lnTo>
                  <a:pt x="132587" y="2919983"/>
                </a:lnTo>
                <a:close/>
              </a:path>
              <a:path w="4434840" h="4434840">
                <a:moveTo>
                  <a:pt x="121919" y="2889503"/>
                </a:moveTo>
                <a:lnTo>
                  <a:pt x="117347" y="2875787"/>
                </a:lnTo>
                <a:lnTo>
                  <a:pt x="102107" y="2880359"/>
                </a:lnTo>
                <a:lnTo>
                  <a:pt x="106679" y="2895599"/>
                </a:lnTo>
                <a:lnTo>
                  <a:pt x="121919" y="2889503"/>
                </a:lnTo>
                <a:close/>
              </a:path>
              <a:path w="4434840" h="4434840">
                <a:moveTo>
                  <a:pt x="112775" y="2860547"/>
                </a:moveTo>
                <a:lnTo>
                  <a:pt x="108203" y="2845307"/>
                </a:lnTo>
                <a:lnTo>
                  <a:pt x="92963" y="2848355"/>
                </a:lnTo>
                <a:lnTo>
                  <a:pt x="97535" y="2865119"/>
                </a:lnTo>
                <a:lnTo>
                  <a:pt x="112775" y="2860547"/>
                </a:lnTo>
                <a:close/>
              </a:path>
              <a:path w="4434840" h="4434840">
                <a:moveTo>
                  <a:pt x="103631" y="2828543"/>
                </a:moveTo>
                <a:lnTo>
                  <a:pt x="99059" y="2813303"/>
                </a:lnTo>
                <a:lnTo>
                  <a:pt x="83819" y="2817875"/>
                </a:lnTo>
                <a:lnTo>
                  <a:pt x="88391" y="2833115"/>
                </a:lnTo>
                <a:lnTo>
                  <a:pt x="103631" y="2828543"/>
                </a:lnTo>
                <a:close/>
              </a:path>
              <a:path w="4434840" h="4434840">
                <a:moveTo>
                  <a:pt x="94487" y="2798063"/>
                </a:moveTo>
                <a:lnTo>
                  <a:pt x="89915" y="2782823"/>
                </a:lnTo>
                <a:lnTo>
                  <a:pt x="74675" y="2787395"/>
                </a:lnTo>
                <a:lnTo>
                  <a:pt x="79247" y="2802635"/>
                </a:lnTo>
                <a:lnTo>
                  <a:pt x="94487" y="2798063"/>
                </a:lnTo>
                <a:close/>
              </a:path>
              <a:path w="4434840" h="4434840">
                <a:moveTo>
                  <a:pt x="85343" y="2767583"/>
                </a:moveTo>
                <a:lnTo>
                  <a:pt x="82295" y="2752343"/>
                </a:lnTo>
                <a:lnTo>
                  <a:pt x="67055" y="2755391"/>
                </a:lnTo>
                <a:lnTo>
                  <a:pt x="70103" y="2772155"/>
                </a:lnTo>
                <a:lnTo>
                  <a:pt x="85343" y="2767583"/>
                </a:lnTo>
                <a:close/>
              </a:path>
              <a:path w="4434840" h="4434840">
                <a:moveTo>
                  <a:pt x="79247" y="2737103"/>
                </a:moveTo>
                <a:lnTo>
                  <a:pt x="74675" y="2720339"/>
                </a:lnTo>
                <a:lnTo>
                  <a:pt x="59435" y="2724911"/>
                </a:lnTo>
                <a:lnTo>
                  <a:pt x="62483" y="2740151"/>
                </a:lnTo>
                <a:lnTo>
                  <a:pt x="79247" y="2737103"/>
                </a:lnTo>
                <a:close/>
              </a:path>
              <a:path w="4434840" h="4434840">
                <a:moveTo>
                  <a:pt x="71627" y="2705099"/>
                </a:moveTo>
                <a:lnTo>
                  <a:pt x="68579" y="2689859"/>
                </a:lnTo>
                <a:lnTo>
                  <a:pt x="51815" y="2692907"/>
                </a:lnTo>
                <a:lnTo>
                  <a:pt x="56387" y="2709671"/>
                </a:lnTo>
                <a:lnTo>
                  <a:pt x="71627" y="2705099"/>
                </a:lnTo>
                <a:close/>
              </a:path>
              <a:path w="4434840" h="4434840">
                <a:moveTo>
                  <a:pt x="64007" y="2674619"/>
                </a:moveTo>
                <a:lnTo>
                  <a:pt x="60959" y="2660903"/>
                </a:lnTo>
                <a:lnTo>
                  <a:pt x="60959" y="2659379"/>
                </a:lnTo>
                <a:lnTo>
                  <a:pt x="45719" y="2662427"/>
                </a:lnTo>
                <a:lnTo>
                  <a:pt x="45719" y="2663951"/>
                </a:lnTo>
                <a:lnTo>
                  <a:pt x="48767" y="2677667"/>
                </a:lnTo>
                <a:lnTo>
                  <a:pt x="64007" y="2674619"/>
                </a:lnTo>
                <a:close/>
              </a:path>
              <a:path w="4434840" h="4434840">
                <a:moveTo>
                  <a:pt x="57911" y="2642615"/>
                </a:moveTo>
                <a:lnTo>
                  <a:pt x="54863" y="2627375"/>
                </a:lnTo>
                <a:lnTo>
                  <a:pt x="39623" y="2630423"/>
                </a:lnTo>
                <a:lnTo>
                  <a:pt x="42671" y="2645663"/>
                </a:lnTo>
                <a:lnTo>
                  <a:pt x="57911" y="2642615"/>
                </a:lnTo>
                <a:close/>
              </a:path>
              <a:path w="4434840" h="4434840">
                <a:moveTo>
                  <a:pt x="51815" y="2612135"/>
                </a:moveTo>
                <a:lnTo>
                  <a:pt x="50291" y="2595371"/>
                </a:lnTo>
                <a:lnTo>
                  <a:pt x="33527" y="2598419"/>
                </a:lnTo>
                <a:lnTo>
                  <a:pt x="36575" y="2613659"/>
                </a:lnTo>
                <a:lnTo>
                  <a:pt x="51815" y="2612135"/>
                </a:lnTo>
                <a:close/>
              </a:path>
              <a:path w="4434840" h="4434840">
                <a:moveTo>
                  <a:pt x="47243" y="2580131"/>
                </a:moveTo>
                <a:lnTo>
                  <a:pt x="44195" y="2564891"/>
                </a:lnTo>
                <a:lnTo>
                  <a:pt x="28955" y="2566415"/>
                </a:lnTo>
                <a:lnTo>
                  <a:pt x="30479" y="2583179"/>
                </a:lnTo>
                <a:lnTo>
                  <a:pt x="47243" y="2580131"/>
                </a:lnTo>
                <a:close/>
              </a:path>
              <a:path w="4434840" h="4434840">
                <a:moveTo>
                  <a:pt x="41147" y="2548127"/>
                </a:moveTo>
                <a:lnTo>
                  <a:pt x="39623" y="2532887"/>
                </a:lnTo>
                <a:lnTo>
                  <a:pt x="22859" y="2534411"/>
                </a:lnTo>
                <a:lnTo>
                  <a:pt x="25907" y="2551175"/>
                </a:lnTo>
                <a:lnTo>
                  <a:pt x="41147" y="2548127"/>
                </a:lnTo>
                <a:close/>
              </a:path>
              <a:path w="4434840" h="4434840">
                <a:moveTo>
                  <a:pt x="38099" y="2517647"/>
                </a:moveTo>
                <a:lnTo>
                  <a:pt x="35051" y="2500883"/>
                </a:lnTo>
                <a:lnTo>
                  <a:pt x="19811" y="2502407"/>
                </a:lnTo>
                <a:lnTo>
                  <a:pt x="21335" y="2519171"/>
                </a:lnTo>
                <a:lnTo>
                  <a:pt x="38099" y="2517647"/>
                </a:lnTo>
                <a:close/>
              </a:path>
              <a:path w="4434840" h="4434840">
                <a:moveTo>
                  <a:pt x="33527" y="2485643"/>
                </a:moveTo>
                <a:lnTo>
                  <a:pt x="32003" y="2468879"/>
                </a:lnTo>
                <a:lnTo>
                  <a:pt x="15239" y="2471927"/>
                </a:lnTo>
                <a:lnTo>
                  <a:pt x="16763" y="2487167"/>
                </a:lnTo>
                <a:lnTo>
                  <a:pt x="33527" y="2485643"/>
                </a:lnTo>
                <a:close/>
              </a:path>
              <a:path w="4434840" h="4434840">
                <a:moveTo>
                  <a:pt x="28955" y="2453639"/>
                </a:moveTo>
                <a:lnTo>
                  <a:pt x="27431" y="2441447"/>
                </a:lnTo>
                <a:lnTo>
                  <a:pt x="27431" y="2438399"/>
                </a:lnTo>
                <a:lnTo>
                  <a:pt x="12191" y="2438399"/>
                </a:lnTo>
                <a:lnTo>
                  <a:pt x="12191" y="2444495"/>
                </a:lnTo>
                <a:lnTo>
                  <a:pt x="13715" y="2455163"/>
                </a:lnTo>
                <a:lnTo>
                  <a:pt x="28955" y="2453639"/>
                </a:lnTo>
                <a:close/>
              </a:path>
              <a:path w="4434840" h="4434840">
                <a:moveTo>
                  <a:pt x="25907" y="2421635"/>
                </a:moveTo>
                <a:lnTo>
                  <a:pt x="25907" y="2406395"/>
                </a:lnTo>
                <a:lnTo>
                  <a:pt x="9143" y="2406395"/>
                </a:lnTo>
                <a:lnTo>
                  <a:pt x="10667" y="2423159"/>
                </a:lnTo>
                <a:lnTo>
                  <a:pt x="25907" y="2421635"/>
                </a:lnTo>
                <a:close/>
              </a:path>
              <a:path w="4434840" h="4434840">
                <a:moveTo>
                  <a:pt x="24383" y="2389631"/>
                </a:moveTo>
                <a:lnTo>
                  <a:pt x="22859" y="2374391"/>
                </a:lnTo>
                <a:lnTo>
                  <a:pt x="6095" y="2374391"/>
                </a:lnTo>
                <a:lnTo>
                  <a:pt x="7619" y="2391155"/>
                </a:lnTo>
                <a:lnTo>
                  <a:pt x="24383" y="2389631"/>
                </a:lnTo>
                <a:close/>
              </a:path>
              <a:path w="4434840" h="4434840">
                <a:moveTo>
                  <a:pt x="21335" y="2357627"/>
                </a:moveTo>
                <a:lnTo>
                  <a:pt x="19811" y="2342387"/>
                </a:lnTo>
                <a:lnTo>
                  <a:pt x="4571" y="2342387"/>
                </a:lnTo>
                <a:lnTo>
                  <a:pt x="6095" y="2359151"/>
                </a:lnTo>
                <a:lnTo>
                  <a:pt x="21335" y="2357627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  <a:prstDash val="dash"/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977717" y="924827"/>
            <a:ext cx="1360378" cy="1360379"/>
          </a:xfrm>
          <a:custGeom>
            <a:avLst/>
            <a:gdLst/>
            <a:ahLst/>
            <a:cxnLst/>
            <a:rect l="l" t="t" r="r" b="b"/>
            <a:pathLst>
              <a:path w="1140459" h="1140460">
                <a:moveTo>
                  <a:pt x="1139951" y="569975"/>
                </a:moveTo>
                <a:lnTo>
                  <a:pt x="1137865" y="520916"/>
                </a:lnTo>
                <a:lnTo>
                  <a:pt x="1131717" y="472991"/>
                </a:lnTo>
                <a:lnTo>
                  <a:pt x="1121678" y="426376"/>
                </a:lnTo>
                <a:lnTo>
                  <a:pt x="1107917" y="381244"/>
                </a:lnTo>
                <a:lnTo>
                  <a:pt x="1090603" y="337767"/>
                </a:lnTo>
                <a:lnTo>
                  <a:pt x="1069906" y="296119"/>
                </a:lnTo>
                <a:lnTo>
                  <a:pt x="1045994" y="256474"/>
                </a:lnTo>
                <a:lnTo>
                  <a:pt x="1019038" y="219004"/>
                </a:lnTo>
                <a:lnTo>
                  <a:pt x="989205" y="183884"/>
                </a:lnTo>
                <a:lnTo>
                  <a:pt x="956667" y="151285"/>
                </a:lnTo>
                <a:lnTo>
                  <a:pt x="921592" y="121383"/>
                </a:lnTo>
                <a:lnTo>
                  <a:pt x="884149" y="94349"/>
                </a:lnTo>
                <a:lnTo>
                  <a:pt x="844507" y="70357"/>
                </a:lnTo>
                <a:lnTo>
                  <a:pt x="802837" y="49581"/>
                </a:lnTo>
                <a:lnTo>
                  <a:pt x="759307" y="32194"/>
                </a:lnTo>
                <a:lnTo>
                  <a:pt x="714086" y="18369"/>
                </a:lnTo>
                <a:lnTo>
                  <a:pt x="667345" y="8279"/>
                </a:lnTo>
                <a:lnTo>
                  <a:pt x="619251" y="2098"/>
                </a:lnTo>
                <a:lnTo>
                  <a:pt x="569975" y="0"/>
                </a:lnTo>
                <a:lnTo>
                  <a:pt x="520700" y="2098"/>
                </a:lnTo>
                <a:lnTo>
                  <a:pt x="472606" y="8279"/>
                </a:lnTo>
                <a:lnTo>
                  <a:pt x="425865" y="18369"/>
                </a:lnTo>
                <a:lnTo>
                  <a:pt x="380644" y="32194"/>
                </a:lnTo>
                <a:lnTo>
                  <a:pt x="337114" y="49581"/>
                </a:lnTo>
                <a:lnTo>
                  <a:pt x="295444" y="70357"/>
                </a:lnTo>
                <a:lnTo>
                  <a:pt x="255802" y="94349"/>
                </a:lnTo>
                <a:lnTo>
                  <a:pt x="218359" y="121383"/>
                </a:lnTo>
                <a:lnTo>
                  <a:pt x="183284" y="151285"/>
                </a:lnTo>
                <a:lnTo>
                  <a:pt x="150746" y="183884"/>
                </a:lnTo>
                <a:lnTo>
                  <a:pt x="120913" y="219004"/>
                </a:lnTo>
                <a:lnTo>
                  <a:pt x="93957" y="256474"/>
                </a:lnTo>
                <a:lnTo>
                  <a:pt x="70045" y="296119"/>
                </a:lnTo>
                <a:lnTo>
                  <a:pt x="49348" y="337767"/>
                </a:lnTo>
                <a:lnTo>
                  <a:pt x="32034" y="381244"/>
                </a:lnTo>
                <a:lnTo>
                  <a:pt x="18273" y="426376"/>
                </a:lnTo>
                <a:lnTo>
                  <a:pt x="8234" y="472991"/>
                </a:lnTo>
                <a:lnTo>
                  <a:pt x="2086" y="520916"/>
                </a:lnTo>
                <a:lnTo>
                  <a:pt x="0" y="569975"/>
                </a:lnTo>
                <a:lnTo>
                  <a:pt x="1884" y="616814"/>
                </a:lnTo>
                <a:lnTo>
                  <a:pt x="7441" y="662594"/>
                </a:lnTo>
                <a:lnTo>
                  <a:pt x="16526" y="707168"/>
                </a:lnTo>
                <a:lnTo>
                  <a:pt x="28992" y="750393"/>
                </a:lnTo>
                <a:lnTo>
                  <a:pt x="44696" y="792122"/>
                </a:lnTo>
                <a:lnTo>
                  <a:pt x="63491" y="832212"/>
                </a:lnTo>
                <a:lnTo>
                  <a:pt x="85233" y="870516"/>
                </a:lnTo>
                <a:lnTo>
                  <a:pt x="109776" y="906889"/>
                </a:lnTo>
                <a:lnTo>
                  <a:pt x="136976" y="941187"/>
                </a:lnTo>
                <a:lnTo>
                  <a:pt x="166687" y="973264"/>
                </a:lnTo>
                <a:lnTo>
                  <a:pt x="198764" y="1002975"/>
                </a:lnTo>
                <a:lnTo>
                  <a:pt x="233062" y="1030175"/>
                </a:lnTo>
                <a:lnTo>
                  <a:pt x="269435" y="1054718"/>
                </a:lnTo>
                <a:lnTo>
                  <a:pt x="307739" y="1076460"/>
                </a:lnTo>
                <a:lnTo>
                  <a:pt x="347829" y="1095255"/>
                </a:lnTo>
                <a:lnTo>
                  <a:pt x="389558" y="1110959"/>
                </a:lnTo>
                <a:lnTo>
                  <a:pt x="432783" y="1123425"/>
                </a:lnTo>
                <a:lnTo>
                  <a:pt x="477357" y="1132510"/>
                </a:lnTo>
                <a:lnTo>
                  <a:pt x="523137" y="1138067"/>
                </a:lnTo>
                <a:lnTo>
                  <a:pt x="569975" y="1139951"/>
                </a:lnTo>
                <a:lnTo>
                  <a:pt x="616814" y="1138067"/>
                </a:lnTo>
                <a:lnTo>
                  <a:pt x="662594" y="1132510"/>
                </a:lnTo>
                <a:lnTo>
                  <a:pt x="707168" y="1123425"/>
                </a:lnTo>
                <a:lnTo>
                  <a:pt x="750393" y="1110959"/>
                </a:lnTo>
                <a:lnTo>
                  <a:pt x="792122" y="1095255"/>
                </a:lnTo>
                <a:lnTo>
                  <a:pt x="832212" y="1076460"/>
                </a:lnTo>
                <a:lnTo>
                  <a:pt x="870516" y="1054718"/>
                </a:lnTo>
                <a:lnTo>
                  <a:pt x="906889" y="1030175"/>
                </a:lnTo>
                <a:lnTo>
                  <a:pt x="941187" y="1002975"/>
                </a:lnTo>
                <a:lnTo>
                  <a:pt x="973264" y="973264"/>
                </a:lnTo>
                <a:lnTo>
                  <a:pt x="1002975" y="941187"/>
                </a:lnTo>
                <a:lnTo>
                  <a:pt x="1030175" y="906889"/>
                </a:lnTo>
                <a:lnTo>
                  <a:pt x="1054718" y="870516"/>
                </a:lnTo>
                <a:lnTo>
                  <a:pt x="1076460" y="832212"/>
                </a:lnTo>
                <a:lnTo>
                  <a:pt x="1095255" y="792122"/>
                </a:lnTo>
                <a:lnTo>
                  <a:pt x="1110959" y="750393"/>
                </a:lnTo>
                <a:lnTo>
                  <a:pt x="1123425" y="707168"/>
                </a:lnTo>
                <a:lnTo>
                  <a:pt x="1132510" y="662594"/>
                </a:lnTo>
                <a:lnTo>
                  <a:pt x="1138067" y="616814"/>
                </a:lnTo>
                <a:lnTo>
                  <a:pt x="1139951" y="5699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972265" y="921194"/>
            <a:ext cx="1370983" cy="1369467"/>
          </a:xfrm>
          <a:custGeom>
            <a:avLst/>
            <a:gdLst/>
            <a:ahLst/>
            <a:cxnLst/>
            <a:rect l="l" t="t" r="r" b="b"/>
            <a:pathLst>
              <a:path w="1149350" h="1148080">
                <a:moveTo>
                  <a:pt x="1149095" y="573023"/>
                </a:moveTo>
                <a:lnTo>
                  <a:pt x="1146047" y="515111"/>
                </a:lnTo>
                <a:lnTo>
                  <a:pt x="1136903" y="457199"/>
                </a:lnTo>
                <a:lnTo>
                  <a:pt x="1123187" y="402335"/>
                </a:lnTo>
                <a:lnTo>
                  <a:pt x="1103375" y="350519"/>
                </a:lnTo>
                <a:lnTo>
                  <a:pt x="1078991" y="300227"/>
                </a:lnTo>
                <a:lnTo>
                  <a:pt x="1034795" y="230123"/>
                </a:lnTo>
                <a:lnTo>
                  <a:pt x="999743" y="187451"/>
                </a:lnTo>
                <a:lnTo>
                  <a:pt x="960119" y="147827"/>
                </a:lnTo>
                <a:lnTo>
                  <a:pt x="938783" y="131063"/>
                </a:lnTo>
                <a:lnTo>
                  <a:pt x="917447" y="112775"/>
                </a:lnTo>
                <a:lnTo>
                  <a:pt x="871727" y="82295"/>
                </a:lnTo>
                <a:lnTo>
                  <a:pt x="798575" y="44195"/>
                </a:lnTo>
                <a:lnTo>
                  <a:pt x="745235" y="25907"/>
                </a:lnTo>
                <a:lnTo>
                  <a:pt x="717803" y="16763"/>
                </a:lnTo>
                <a:lnTo>
                  <a:pt x="690371" y="10667"/>
                </a:lnTo>
                <a:lnTo>
                  <a:pt x="661415" y="6095"/>
                </a:lnTo>
                <a:lnTo>
                  <a:pt x="603503" y="0"/>
                </a:lnTo>
                <a:lnTo>
                  <a:pt x="545591" y="0"/>
                </a:lnTo>
                <a:lnTo>
                  <a:pt x="487679" y="6095"/>
                </a:lnTo>
                <a:lnTo>
                  <a:pt x="431291" y="16763"/>
                </a:lnTo>
                <a:lnTo>
                  <a:pt x="376427" y="35051"/>
                </a:lnTo>
                <a:lnTo>
                  <a:pt x="326135" y="56387"/>
                </a:lnTo>
                <a:lnTo>
                  <a:pt x="300227" y="68579"/>
                </a:lnTo>
                <a:lnTo>
                  <a:pt x="277367" y="82295"/>
                </a:lnTo>
                <a:lnTo>
                  <a:pt x="252983" y="97535"/>
                </a:lnTo>
                <a:lnTo>
                  <a:pt x="231647" y="114299"/>
                </a:lnTo>
                <a:lnTo>
                  <a:pt x="208787" y="131063"/>
                </a:lnTo>
                <a:lnTo>
                  <a:pt x="169163" y="167639"/>
                </a:lnTo>
                <a:lnTo>
                  <a:pt x="131063" y="208787"/>
                </a:lnTo>
                <a:lnTo>
                  <a:pt x="83819" y="275843"/>
                </a:lnTo>
                <a:lnTo>
                  <a:pt x="56387" y="324611"/>
                </a:lnTo>
                <a:lnTo>
                  <a:pt x="35051" y="376427"/>
                </a:lnTo>
                <a:lnTo>
                  <a:pt x="18287" y="429767"/>
                </a:lnTo>
                <a:lnTo>
                  <a:pt x="3047" y="515111"/>
                </a:lnTo>
                <a:lnTo>
                  <a:pt x="0" y="573023"/>
                </a:lnTo>
                <a:lnTo>
                  <a:pt x="3047" y="632459"/>
                </a:lnTo>
                <a:lnTo>
                  <a:pt x="9143" y="670559"/>
                </a:lnTo>
                <a:lnTo>
                  <a:pt x="9143" y="544067"/>
                </a:lnTo>
                <a:lnTo>
                  <a:pt x="10667" y="515111"/>
                </a:lnTo>
                <a:lnTo>
                  <a:pt x="19811" y="458723"/>
                </a:lnTo>
                <a:lnTo>
                  <a:pt x="33527" y="405383"/>
                </a:lnTo>
                <a:lnTo>
                  <a:pt x="64007" y="327659"/>
                </a:lnTo>
                <a:lnTo>
                  <a:pt x="89915" y="280415"/>
                </a:lnTo>
                <a:lnTo>
                  <a:pt x="120395" y="234695"/>
                </a:lnTo>
                <a:lnTo>
                  <a:pt x="173735" y="173735"/>
                </a:lnTo>
                <a:lnTo>
                  <a:pt x="257555" y="103631"/>
                </a:lnTo>
                <a:lnTo>
                  <a:pt x="329183" y="62483"/>
                </a:lnTo>
                <a:lnTo>
                  <a:pt x="379475" y="41147"/>
                </a:lnTo>
                <a:lnTo>
                  <a:pt x="406907" y="33527"/>
                </a:lnTo>
                <a:lnTo>
                  <a:pt x="432815" y="25907"/>
                </a:lnTo>
                <a:lnTo>
                  <a:pt x="460247" y="18287"/>
                </a:lnTo>
                <a:lnTo>
                  <a:pt x="487679" y="13715"/>
                </a:lnTo>
                <a:lnTo>
                  <a:pt x="545591" y="7619"/>
                </a:lnTo>
                <a:lnTo>
                  <a:pt x="603503" y="7619"/>
                </a:lnTo>
                <a:lnTo>
                  <a:pt x="661415" y="13715"/>
                </a:lnTo>
                <a:lnTo>
                  <a:pt x="743711" y="33527"/>
                </a:lnTo>
                <a:lnTo>
                  <a:pt x="795527" y="51815"/>
                </a:lnTo>
                <a:lnTo>
                  <a:pt x="844295" y="76199"/>
                </a:lnTo>
                <a:lnTo>
                  <a:pt x="891539" y="103631"/>
                </a:lnTo>
                <a:lnTo>
                  <a:pt x="955547" y="153923"/>
                </a:lnTo>
                <a:lnTo>
                  <a:pt x="1011935" y="213359"/>
                </a:lnTo>
                <a:lnTo>
                  <a:pt x="1059179" y="280415"/>
                </a:lnTo>
                <a:lnTo>
                  <a:pt x="1085087" y="327659"/>
                </a:lnTo>
                <a:lnTo>
                  <a:pt x="1106423" y="379475"/>
                </a:lnTo>
                <a:lnTo>
                  <a:pt x="1123187" y="432815"/>
                </a:lnTo>
                <a:lnTo>
                  <a:pt x="1133855" y="487679"/>
                </a:lnTo>
                <a:lnTo>
                  <a:pt x="1139951" y="544067"/>
                </a:lnTo>
                <a:lnTo>
                  <a:pt x="1139951" y="670559"/>
                </a:lnTo>
                <a:lnTo>
                  <a:pt x="1146047" y="632459"/>
                </a:lnTo>
                <a:lnTo>
                  <a:pt x="1149095" y="573023"/>
                </a:lnTo>
                <a:close/>
              </a:path>
              <a:path w="1149350" h="1148080">
                <a:moveTo>
                  <a:pt x="1139951" y="670559"/>
                </a:moveTo>
                <a:lnTo>
                  <a:pt x="1139951" y="603503"/>
                </a:lnTo>
                <a:lnTo>
                  <a:pt x="1133855" y="659891"/>
                </a:lnTo>
                <a:lnTo>
                  <a:pt x="1129283" y="687323"/>
                </a:lnTo>
                <a:lnTo>
                  <a:pt x="1115567" y="742187"/>
                </a:lnTo>
                <a:lnTo>
                  <a:pt x="1095755" y="794003"/>
                </a:lnTo>
                <a:lnTo>
                  <a:pt x="1072895" y="842771"/>
                </a:lnTo>
                <a:lnTo>
                  <a:pt x="1028699" y="912875"/>
                </a:lnTo>
                <a:lnTo>
                  <a:pt x="975359" y="973835"/>
                </a:lnTo>
                <a:lnTo>
                  <a:pt x="934211" y="1010411"/>
                </a:lnTo>
                <a:lnTo>
                  <a:pt x="891539" y="1042415"/>
                </a:lnTo>
                <a:lnTo>
                  <a:pt x="844295" y="1071371"/>
                </a:lnTo>
                <a:lnTo>
                  <a:pt x="794003" y="1095755"/>
                </a:lnTo>
                <a:lnTo>
                  <a:pt x="742187" y="1114043"/>
                </a:lnTo>
                <a:lnTo>
                  <a:pt x="688847" y="1127759"/>
                </a:lnTo>
                <a:lnTo>
                  <a:pt x="659891" y="1132331"/>
                </a:lnTo>
                <a:lnTo>
                  <a:pt x="632459" y="1136903"/>
                </a:lnTo>
                <a:lnTo>
                  <a:pt x="574547" y="1139951"/>
                </a:lnTo>
                <a:lnTo>
                  <a:pt x="516635" y="1136903"/>
                </a:lnTo>
                <a:lnTo>
                  <a:pt x="487679" y="1132331"/>
                </a:lnTo>
                <a:lnTo>
                  <a:pt x="432815" y="1121663"/>
                </a:lnTo>
                <a:lnTo>
                  <a:pt x="353567" y="1095755"/>
                </a:lnTo>
                <a:lnTo>
                  <a:pt x="304799" y="1071371"/>
                </a:lnTo>
                <a:lnTo>
                  <a:pt x="257555" y="1042415"/>
                </a:lnTo>
                <a:lnTo>
                  <a:pt x="214883" y="1010411"/>
                </a:lnTo>
                <a:lnTo>
                  <a:pt x="173735" y="973835"/>
                </a:lnTo>
                <a:lnTo>
                  <a:pt x="137159" y="932687"/>
                </a:lnTo>
                <a:lnTo>
                  <a:pt x="105155" y="890015"/>
                </a:lnTo>
                <a:lnTo>
                  <a:pt x="76199" y="842771"/>
                </a:lnTo>
                <a:lnTo>
                  <a:pt x="53339" y="794003"/>
                </a:lnTo>
                <a:lnTo>
                  <a:pt x="33527" y="742187"/>
                </a:lnTo>
                <a:lnTo>
                  <a:pt x="19811" y="687323"/>
                </a:lnTo>
                <a:lnTo>
                  <a:pt x="10667" y="630935"/>
                </a:lnTo>
                <a:lnTo>
                  <a:pt x="9143" y="601979"/>
                </a:lnTo>
                <a:lnTo>
                  <a:pt x="9143" y="670559"/>
                </a:lnTo>
                <a:lnTo>
                  <a:pt x="18287" y="716279"/>
                </a:lnTo>
                <a:lnTo>
                  <a:pt x="35051" y="771143"/>
                </a:lnTo>
                <a:lnTo>
                  <a:pt x="56387" y="822959"/>
                </a:lnTo>
                <a:lnTo>
                  <a:pt x="83819" y="871727"/>
                </a:lnTo>
                <a:lnTo>
                  <a:pt x="114299" y="917447"/>
                </a:lnTo>
                <a:lnTo>
                  <a:pt x="149351" y="960119"/>
                </a:lnTo>
                <a:lnTo>
                  <a:pt x="208787" y="1016507"/>
                </a:lnTo>
                <a:lnTo>
                  <a:pt x="231647" y="1033271"/>
                </a:lnTo>
                <a:lnTo>
                  <a:pt x="252983" y="1050035"/>
                </a:lnTo>
                <a:lnTo>
                  <a:pt x="277367" y="1063751"/>
                </a:lnTo>
                <a:lnTo>
                  <a:pt x="300227" y="1078991"/>
                </a:lnTo>
                <a:lnTo>
                  <a:pt x="326135" y="1091183"/>
                </a:lnTo>
                <a:lnTo>
                  <a:pt x="377951" y="1112519"/>
                </a:lnTo>
                <a:lnTo>
                  <a:pt x="431291" y="1129283"/>
                </a:lnTo>
                <a:lnTo>
                  <a:pt x="487679" y="1141475"/>
                </a:lnTo>
                <a:lnTo>
                  <a:pt x="574547" y="1147571"/>
                </a:lnTo>
                <a:lnTo>
                  <a:pt x="603503" y="1146047"/>
                </a:lnTo>
                <a:lnTo>
                  <a:pt x="633983" y="1144523"/>
                </a:lnTo>
                <a:lnTo>
                  <a:pt x="690371" y="1135379"/>
                </a:lnTo>
                <a:lnTo>
                  <a:pt x="745235" y="1121663"/>
                </a:lnTo>
                <a:lnTo>
                  <a:pt x="798575" y="1101851"/>
                </a:lnTo>
                <a:lnTo>
                  <a:pt x="848867" y="1077467"/>
                </a:lnTo>
                <a:lnTo>
                  <a:pt x="871727" y="1063751"/>
                </a:lnTo>
                <a:lnTo>
                  <a:pt x="896111" y="1050035"/>
                </a:lnTo>
                <a:lnTo>
                  <a:pt x="917447" y="1033271"/>
                </a:lnTo>
                <a:lnTo>
                  <a:pt x="940307" y="1016507"/>
                </a:lnTo>
                <a:lnTo>
                  <a:pt x="979931" y="979931"/>
                </a:lnTo>
                <a:lnTo>
                  <a:pt x="1018031" y="938783"/>
                </a:lnTo>
                <a:lnTo>
                  <a:pt x="1065275" y="871727"/>
                </a:lnTo>
                <a:lnTo>
                  <a:pt x="1092707" y="822959"/>
                </a:lnTo>
                <a:lnTo>
                  <a:pt x="1114043" y="771143"/>
                </a:lnTo>
                <a:lnTo>
                  <a:pt x="1130807" y="716279"/>
                </a:lnTo>
                <a:lnTo>
                  <a:pt x="1136903" y="688847"/>
                </a:lnTo>
                <a:lnTo>
                  <a:pt x="1139951" y="670559"/>
                </a:lnTo>
                <a:close/>
              </a:path>
            </a:pathLst>
          </a:custGeom>
          <a:solidFill>
            <a:srgbClr val="1F3FE6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472076" y="1742310"/>
            <a:ext cx="1926949" cy="584153"/>
          </a:xfrm>
          <a:prstGeom prst="rect">
            <a:avLst/>
          </a:prstGeom>
        </p:spPr>
        <p:txBody>
          <a:bodyPr vert="horz" wrap="square" lIns="0" tIns="79076" rIns="0" bIns="0" rtlCol="0">
            <a:spAutoFit/>
          </a:bodyPr>
          <a:lstStyle/>
          <a:p>
            <a:pPr marL="168588">
              <a:spcBef>
                <a:spcPts val="623"/>
              </a:spcBef>
            </a:pPr>
            <a:r>
              <a:rPr sz="2032" spc="-4" dirty="0">
                <a:solidFill>
                  <a:srgbClr val="FFFFFF"/>
                </a:solidFill>
                <a:latin typeface="+mn-lt"/>
                <a:cs typeface="Georgia"/>
              </a:rPr>
              <a:t>25+</a:t>
            </a:r>
            <a:r>
              <a:rPr sz="2032" spc="-39" dirty="0">
                <a:solidFill>
                  <a:srgbClr val="FFFFFF"/>
                </a:solidFill>
                <a:latin typeface="+mn-lt"/>
                <a:cs typeface="Georgia"/>
              </a:rPr>
              <a:t> </a:t>
            </a:r>
            <a:r>
              <a:rPr sz="995" spc="4" dirty="0">
                <a:solidFill>
                  <a:srgbClr val="FFFFFF"/>
                </a:solidFill>
                <a:latin typeface="+mn-lt"/>
                <a:cs typeface="Arial"/>
              </a:rPr>
              <a:t>interviews…</a:t>
            </a:r>
            <a:endParaRPr sz="995" dirty="0">
              <a:latin typeface="+mn-lt"/>
              <a:cs typeface="Arial"/>
            </a:endParaRPr>
          </a:p>
          <a:p>
            <a:pPr marL="10983">
              <a:spcBef>
                <a:spcPts val="289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Healthcare</a:t>
            </a:r>
            <a:r>
              <a:rPr sz="995" i="1" spc="-52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dirty="0">
                <a:solidFill>
                  <a:srgbClr val="FFFFFF"/>
                </a:solidFill>
                <a:latin typeface="+mn-lt"/>
                <a:cs typeface="Arial"/>
              </a:rPr>
              <a:t>(2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468712" y="2281963"/>
            <a:ext cx="112860" cy="165882"/>
          </a:xfrm>
          <a:custGeom>
            <a:avLst/>
            <a:gdLst/>
            <a:ahLst/>
            <a:cxnLst/>
            <a:rect l="l" t="t" r="r" b="b"/>
            <a:pathLst>
              <a:path w="94614" h="139064">
                <a:moveTo>
                  <a:pt x="71627" y="56387"/>
                </a:moveTo>
                <a:lnTo>
                  <a:pt x="71627" y="47243"/>
                </a:lnTo>
                <a:lnTo>
                  <a:pt x="67055" y="41147"/>
                </a:lnTo>
                <a:lnTo>
                  <a:pt x="57911" y="42671"/>
                </a:lnTo>
                <a:lnTo>
                  <a:pt x="51815" y="45719"/>
                </a:lnTo>
                <a:lnTo>
                  <a:pt x="48767" y="48767"/>
                </a:lnTo>
                <a:lnTo>
                  <a:pt x="44195" y="54863"/>
                </a:lnTo>
                <a:lnTo>
                  <a:pt x="38099" y="62483"/>
                </a:lnTo>
                <a:lnTo>
                  <a:pt x="33527" y="68579"/>
                </a:lnTo>
                <a:lnTo>
                  <a:pt x="32003" y="70103"/>
                </a:lnTo>
                <a:lnTo>
                  <a:pt x="30479" y="70103"/>
                </a:lnTo>
                <a:lnTo>
                  <a:pt x="28955" y="71627"/>
                </a:lnTo>
                <a:lnTo>
                  <a:pt x="24383" y="71627"/>
                </a:lnTo>
                <a:lnTo>
                  <a:pt x="17859" y="73604"/>
                </a:lnTo>
                <a:lnTo>
                  <a:pt x="12191" y="77152"/>
                </a:lnTo>
                <a:lnTo>
                  <a:pt x="7667" y="82129"/>
                </a:lnTo>
                <a:lnTo>
                  <a:pt x="1523" y="94487"/>
                </a:lnTo>
                <a:lnTo>
                  <a:pt x="1523" y="99059"/>
                </a:lnTo>
                <a:lnTo>
                  <a:pt x="0" y="105155"/>
                </a:lnTo>
                <a:lnTo>
                  <a:pt x="0" y="138683"/>
                </a:lnTo>
                <a:lnTo>
                  <a:pt x="42671" y="138683"/>
                </a:lnTo>
                <a:lnTo>
                  <a:pt x="42671" y="124967"/>
                </a:lnTo>
                <a:lnTo>
                  <a:pt x="45719" y="120395"/>
                </a:lnTo>
                <a:lnTo>
                  <a:pt x="45719" y="96011"/>
                </a:lnTo>
                <a:lnTo>
                  <a:pt x="47243" y="91439"/>
                </a:lnTo>
                <a:lnTo>
                  <a:pt x="50291" y="86867"/>
                </a:lnTo>
                <a:lnTo>
                  <a:pt x="54863" y="80771"/>
                </a:lnTo>
                <a:lnTo>
                  <a:pt x="60959" y="74675"/>
                </a:lnTo>
                <a:lnTo>
                  <a:pt x="65531" y="67055"/>
                </a:lnTo>
                <a:lnTo>
                  <a:pt x="68579" y="64007"/>
                </a:lnTo>
                <a:lnTo>
                  <a:pt x="70103" y="60959"/>
                </a:lnTo>
                <a:lnTo>
                  <a:pt x="71627" y="56387"/>
                </a:lnTo>
                <a:close/>
              </a:path>
              <a:path w="94614" h="139064">
                <a:moveTo>
                  <a:pt x="78104" y="91203"/>
                </a:moveTo>
                <a:lnTo>
                  <a:pt x="78104" y="56959"/>
                </a:lnTo>
                <a:lnTo>
                  <a:pt x="76628" y="62841"/>
                </a:lnTo>
                <a:lnTo>
                  <a:pt x="73151" y="68579"/>
                </a:lnTo>
                <a:lnTo>
                  <a:pt x="67198" y="77223"/>
                </a:lnTo>
                <a:lnTo>
                  <a:pt x="60959" y="85153"/>
                </a:lnTo>
                <a:lnTo>
                  <a:pt x="54721" y="92797"/>
                </a:lnTo>
                <a:lnTo>
                  <a:pt x="48767" y="100583"/>
                </a:lnTo>
                <a:lnTo>
                  <a:pt x="47243" y="100583"/>
                </a:lnTo>
                <a:lnTo>
                  <a:pt x="47243" y="102107"/>
                </a:lnTo>
                <a:lnTo>
                  <a:pt x="45719" y="96011"/>
                </a:lnTo>
                <a:lnTo>
                  <a:pt x="45719" y="120395"/>
                </a:lnTo>
                <a:lnTo>
                  <a:pt x="50291" y="117347"/>
                </a:lnTo>
                <a:lnTo>
                  <a:pt x="53339" y="117347"/>
                </a:lnTo>
                <a:lnTo>
                  <a:pt x="53339" y="115823"/>
                </a:lnTo>
                <a:lnTo>
                  <a:pt x="57911" y="112775"/>
                </a:lnTo>
                <a:lnTo>
                  <a:pt x="60959" y="111251"/>
                </a:lnTo>
                <a:lnTo>
                  <a:pt x="64007" y="108203"/>
                </a:lnTo>
                <a:lnTo>
                  <a:pt x="71223" y="100845"/>
                </a:lnTo>
                <a:lnTo>
                  <a:pt x="77152" y="92773"/>
                </a:lnTo>
                <a:lnTo>
                  <a:pt x="78104" y="91203"/>
                </a:lnTo>
                <a:close/>
              </a:path>
              <a:path w="94614" h="139064">
                <a:moveTo>
                  <a:pt x="92963" y="62483"/>
                </a:moveTo>
                <a:lnTo>
                  <a:pt x="92963" y="7619"/>
                </a:lnTo>
                <a:lnTo>
                  <a:pt x="89915" y="4571"/>
                </a:lnTo>
                <a:lnTo>
                  <a:pt x="88391" y="1523"/>
                </a:lnTo>
                <a:lnTo>
                  <a:pt x="85343" y="0"/>
                </a:lnTo>
                <a:lnTo>
                  <a:pt x="80771" y="0"/>
                </a:lnTo>
                <a:lnTo>
                  <a:pt x="77723" y="1523"/>
                </a:lnTo>
                <a:lnTo>
                  <a:pt x="76199" y="4571"/>
                </a:lnTo>
                <a:lnTo>
                  <a:pt x="76199" y="13715"/>
                </a:lnTo>
                <a:lnTo>
                  <a:pt x="75318" y="20573"/>
                </a:lnTo>
                <a:lnTo>
                  <a:pt x="74866" y="27431"/>
                </a:lnTo>
                <a:lnTo>
                  <a:pt x="74699" y="34289"/>
                </a:lnTo>
                <a:lnTo>
                  <a:pt x="74675" y="41147"/>
                </a:lnTo>
                <a:lnTo>
                  <a:pt x="74675" y="42671"/>
                </a:lnTo>
                <a:lnTo>
                  <a:pt x="76199" y="44195"/>
                </a:lnTo>
                <a:lnTo>
                  <a:pt x="77866" y="50792"/>
                </a:lnTo>
                <a:lnTo>
                  <a:pt x="78104" y="56959"/>
                </a:lnTo>
                <a:lnTo>
                  <a:pt x="78104" y="91203"/>
                </a:lnTo>
                <a:lnTo>
                  <a:pt x="82224" y="84415"/>
                </a:lnTo>
                <a:lnTo>
                  <a:pt x="86867" y="76199"/>
                </a:lnTo>
                <a:lnTo>
                  <a:pt x="89915" y="68579"/>
                </a:lnTo>
                <a:lnTo>
                  <a:pt x="92963" y="62483"/>
                </a:lnTo>
                <a:close/>
              </a:path>
              <a:path w="94614" h="139064">
                <a:moveTo>
                  <a:pt x="94487" y="50291"/>
                </a:moveTo>
                <a:lnTo>
                  <a:pt x="94487" y="39623"/>
                </a:lnTo>
                <a:lnTo>
                  <a:pt x="93606" y="33647"/>
                </a:lnTo>
                <a:lnTo>
                  <a:pt x="93154" y="27241"/>
                </a:lnTo>
                <a:lnTo>
                  <a:pt x="92987" y="20550"/>
                </a:lnTo>
                <a:lnTo>
                  <a:pt x="92963" y="13715"/>
                </a:lnTo>
                <a:lnTo>
                  <a:pt x="92963" y="54863"/>
                </a:lnTo>
                <a:lnTo>
                  <a:pt x="94487" y="502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339643" y="2281963"/>
            <a:ext cx="112860" cy="165882"/>
          </a:xfrm>
          <a:custGeom>
            <a:avLst/>
            <a:gdLst/>
            <a:ahLst/>
            <a:cxnLst/>
            <a:rect l="l" t="t" r="r" b="b"/>
            <a:pathLst>
              <a:path w="94614" h="139064">
                <a:moveTo>
                  <a:pt x="18287" y="44195"/>
                </a:moveTo>
                <a:lnTo>
                  <a:pt x="18287" y="7619"/>
                </a:lnTo>
                <a:lnTo>
                  <a:pt x="15239" y="1523"/>
                </a:lnTo>
                <a:lnTo>
                  <a:pt x="12191" y="0"/>
                </a:lnTo>
                <a:lnTo>
                  <a:pt x="9143" y="0"/>
                </a:lnTo>
                <a:lnTo>
                  <a:pt x="6095" y="1523"/>
                </a:lnTo>
                <a:lnTo>
                  <a:pt x="4571" y="4571"/>
                </a:lnTo>
                <a:lnTo>
                  <a:pt x="1523" y="7619"/>
                </a:lnTo>
                <a:lnTo>
                  <a:pt x="1523" y="10667"/>
                </a:lnTo>
                <a:lnTo>
                  <a:pt x="0" y="13715"/>
                </a:lnTo>
                <a:lnTo>
                  <a:pt x="0" y="54863"/>
                </a:lnTo>
                <a:lnTo>
                  <a:pt x="15811" y="91893"/>
                </a:lnTo>
                <a:lnTo>
                  <a:pt x="15811" y="56959"/>
                </a:lnTo>
                <a:lnTo>
                  <a:pt x="15978" y="50792"/>
                </a:lnTo>
                <a:lnTo>
                  <a:pt x="18287" y="44195"/>
                </a:lnTo>
                <a:close/>
              </a:path>
              <a:path w="94614" h="139064">
                <a:moveTo>
                  <a:pt x="47243" y="119379"/>
                </a:moveTo>
                <a:lnTo>
                  <a:pt x="47243" y="102107"/>
                </a:lnTo>
                <a:lnTo>
                  <a:pt x="45719" y="100583"/>
                </a:lnTo>
                <a:lnTo>
                  <a:pt x="39766" y="92797"/>
                </a:lnTo>
                <a:lnTo>
                  <a:pt x="15811" y="56959"/>
                </a:lnTo>
                <a:lnTo>
                  <a:pt x="15811" y="91893"/>
                </a:lnTo>
                <a:lnTo>
                  <a:pt x="36575" y="112775"/>
                </a:lnTo>
                <a:lnTo>
                  <a:pt x="41147" y="115823"/>
                </a:lnTo>
                <a:lnTo>
                  <a:pt x="41147" y="117347"/>
                </a:lnTo>
                <a:lnTo>
                  <a:pt x="44195" y="117347"/>
                </a:lnTo>
                <a:lnTo>
                  <a:pt x="47243" y="119379"/>
                </a:lnTo>
                <a:close/>
              </a:path>
              <a:path w="94614" h="139064">
                <a:moveTo>
                  <a:pt x="19811" y="42671"/>
                </a:moveTo>
                <a:lnTo>
                  <a:pt x="19811" y="41147"/>
                </a:lnTo>
                <a:lnTo>
                  <a:pt x="18930" y="34289"/>
                </a:lnTo>
                <a:lnTo>
                  <a:pt x="18478" y="27431"/>
                </a:lnTo>
                <a:lnTo>
                  <a:pt x="18311" y="20573"/>
                </a:lnTo>
                <a:lnTo>
                  <a:pt x="18287" y="13715"/>
                </a:lnTo>
                <a:lnTo>
                  <a:pt x="18287" y="42671"/>
                </a:lnTo>
                <a:lnTo>
                  <a:pt x="19811" y="42671"/>
                </a:lnTo>
                <a:close/>
              </a:path>
              <a:path w="94614" h="139064">
                <a:moveTo>
                  <a:pt x="94487" y="138683"/>
                </a:moveTo>
                <a:lnTo>
                  <a:pt x="94487" y="137159"/>
                </a:lnTo>
                <a:lnTo>
                  <a:pt x="94464" y="129158"/>
                </a:lnTo>
                <a:lnTo>
                  <a:pt x="94297" y="121157"/>
                </a:lnTo>
                <a:lnTo>
                  <a:pt x="93845" y="113156"/>
                </a:lnTo>
                <a:lnTo>
                  <a:pt x="92963" y="105155"/>
                </a:lnTo>
                <a:lnTo>
                  <a:pt x="92963" y="99059"/>
                </a:lnTo>
                <a:lnTo>
                  <a:pt x="91439" y="94487"/>
                </a:lnTo>
                <a:lnTo>
                  <a:pt x="89915" y="88391"/>
                </a:lnTo>
                <a:lnTo>
                  <a:pt x="86820" y="82129"/>
                </a:lnTo>
                <a:lnTo>
                  <a:pt x="82295" y="77152"/>
                </a:lnTo>
                <a:lnTo>
                  <a:pt x="76628" y="73604"/>
                </a:lnTo>
                <a:lnTo>
                  <a:pt x="70103" y="71627"/>
                </a:lnTo>
                <a:lnTo>
                  <a:pt x="65531" y="71627"/>
                </a:lnTo>
                <a:lnTo>
                  <a:pt x="64007" y="70103"/>
                </a:lnTo>
                <a:lnTo>
                  <a:pt x="60959" y="70103"/>
                </a:lnTo>
                <a:lnTo>
                  <a:pt x="60959" y="68579"/>
                </a:lnTo>
                <a:lnTo>
                  <a:pt x="54863" y="62483"/>
                </a:lnTo>
                <a:lnTo>
                  <a:pt x="27431" y="41147"/>
                </a:lnTo>
                <a:lnTo>
                  <a:pt x="22859" y="47243"/>
                </a:lnTo>
                <a:lnTo>
                  <a:pt x="22859" y="56387"/>
                </a:lnTo>
                <a:lnTo>
                  <a:pt x="24383" y="60959"/>
                </a:lnTo>
                <a:lnTo>
                  <a:pt x="25907" y="64007"/>
                </a:lnTo>
                <a:lnTo>
                  <a:pt x="28955" y="67055"/>
                </a:lnTo>
                <a:lnTo>
                  <a:pt x="33527" y="74675"/>
                </a:lnTo>
                <a:lnTo>
                  <a:pt x="39623" y="80771"/>
                </a:lnTo>
                <a:lnTo>
                  <a:pt x="44195" y="86867"/>
                </a:lnTo>
                <a:lnTo>
                  <a:pt x="47243" y="91439"/>
                </a:lnTo>
                <a:lnTo>
                  <a:pt x="47243" y="119379"/>
                </a:lnTo>
                <a:lnTo>
                  <a:pt x="48767" y="120395"/>
                </a:lnTo>
                <a:lnTo>
                  <a:pt x="50291" y="124967"/>
                </a:lnTo>
                <a:lnTo>
                  <a:pt x="51815" y="131063"/>
                </a:lnTo>
                <a:lnTo>
                  <a:pt x="51815" y="138683"/>
                </a:lnTo>
                <a:lnTo>
                  <a:pt x="94487" y="1386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405086" y="2307413"/>
            <a:ext cx="96954" cy="62110"/>
          </a:xfrm>
          <a:custGeom>
            <a:avLst/>
            <a:gdLst/>
            <a:ahLst/>
            <a:cxnLst/>
            <a:rect l="l" t="t" r="r" b="b"/>
            <a:pathLst>
              <a:path w="81279" h="52069">
                <a:moveTo>
                  <a:pt x="80771" y="13715"/>
                </a:moveTo>
                <a:lnTo>
                  <a:pt x="60959" y="13715"/>
                </a:lnTo>
                <a:lnTo>
                  <a:pt x="54863" y="21335"/>
                </a:lnTo>
                <a:lnTo>
                  <a:pt x="53339" y="22859"/>
                </a:lnTo>
                <a:lnTo>
                  <a:pt x="53339" y="19811"/>
                </a:lnTo>
                <a:lnTo>
                  <a:pt x="51815" y="10667"/>
                </a:lnTo>
                <a:lnTo>
                  <a:pt x="50291" y="13715"/>
                </a:lnTo>
                <a:lnTo>
                  <a:pt x="47243" y="18287"/>
                </a:lnTo>
                <a:lnTo>
                  <a:pt x="47243" y="13715"/>
                </a:lnTo>
                <a:lnTo>
                  <a:pt x="42671" y="0"/>
                </a:lnTo>
                <a:lnTo>
                  <a:pt x="36575" y="24383"/>
                </a:lnTo>
                <a:lnTo>
                  <a:pt x="35051" y="28955"/>
                </a:lnTo>
                <a:lnTo>
                  <a:pt x="28955" y="10667"/>
                </a:lnTo>
                <a:lnTo>
                  <a:pt x="25907" y="18287"/>
                </a:lnTo>
                <a:lnTo>
                  <a:pt x="25907" y="21335"/>
                </a:lnTo>
                <a:lnTo>
                  <a:pt x="18287" y="13715"/>
                </a:lnTo>
                <a:lnTo>
                  <a:pt x="0" y="13715"/>
                </a:lnTo>
                <a:lnTo>
                  <a:pt x="3047" y="18287"/>
                </a:lnTo>
                <a:lnTo>
                  <a:pt x="10667" y="25907"/>
                </a:lnTo>
                <a:lnTo>
                  <a:pt x="19026" y="33361"/>
                </a:lnTo>
                <a:lnTo>
                  <a:pt x="27241" y="40957"/>
                </a:lnTo>
                <a:lnTo>
                  <a:pt x="34028" y="47124"/>
                </a:lnTo>
                <a:lnTo>
                  <a:pt x="38099" y="50291"/>
                </a:lnTo>
                <a:lnTo>
                  <a:pt x="39623" y="51815"/>
                </a:lnTo>
                <a:lnTo>
                  <a:pt x="41147" y="50291"/>
                </a:lnTo>
                <a:lnTo>
                  <a:pt x="45458" y="47124"/>
                </a:lnTo>
                <a:lnTo>
                  <a:pt x="52768" y="40957"/>
                </a:lnTo>
                <a:lnTo>
                  <a:pt x="70103" y="25907"/>
                </a:lnTo>
                <a:lnTo>
                  <a:pt x="77723" y="18287"/>
                </a:lnTo>
                <a:lnTo>
                  <a:pt x="80771" y="137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397815" y="2271055"/>
            <a:ext cx="109072" cy="60596"/>
          </a:xfrm>
          <a:custGeom>
            <a:avLst/>
            <a:gdLst/>
            <a:ahLst/>
            <a:cxnLst/>
            <a:rect l="l" t="t" r="r" b="b"/>
            <a:pathLst>
              <a:path w="91439" h="50800">
                <a:moveTo>
                  <a:pt x="91439" y="28955"/>
                </a:moveTo>
                <a:lnTo>
                  <a:pt x="91439" y="22859"/>
                </a:lnTo>
                <a:lnTo>
                  <a:pt x="89915" y="16763"/>
                </a:lnTo>
                <a:lnTo>
                  <a:pt x="83819" y="7619"/>
                </a:lnTo>
                <a:lnTo>
                  <a:pt x="80771" y="4571"/>
                </a:lnTo>
                <a:lnTo>
                  <a:pt x="76199" y="1523"/>
                </a:lnTo>
                <a:lnTo>
                  <a:pt x="71627" y="0"/>
                </a:lnTo>
                <a:lnTo>
                  <a:pt x="57911" y="0"/>
                </a:lnTo>
                <a:lnTo>
                  <a:pt x="51815" y="3047"/>
                </a:lnTo>
                <a:lnTo>
                  <a:pt x="45719" y="12191"/>
                </a:lnTo>
                <a:lnTo>
                  <a:pt x="41147" y="3047"/>
                </a:lnTo>
                <a:lnTo>
                  <a:pt x="33527" y="0"/>
                </a:lnTo>
                <a:lnTo>
                  <a:pt x="21335" y="0"/>
                </a:lnTo>
                <a:lnTo>
                  <a:pt x="0" y="28955"/>
                </a:lnTo>
                <a:lnTo>
                  <a:pt x="3047" y="35051"/>
                </a:lnTo>
                <a:lnTo>
                  <a:pt x="3047" y="38099"/>
                </a:lnTo>
                <a:lnTo>
                  <a:pt x="4571" y="39623"/>
                </a:lnTo>
                <a:lnTo>
                  <a:pt x="4571" y="41147"/>
                </a:lnTo>
                <a:lnTo>
                  <a:pt x="27431" y="41147"/>
                </a:lnTo>
                <a:lnTo>
                  <a:pt x="30479" y="45719"/>
                </a:lnTo>
                <a:lnTo>
                  <a:pt x="33527" y="36575"/>
                </a:lnTo>
                <a:lnTo>
                  <a:pt x="33527" y="32003"/>
                </a:lnTo>
                <a:lnTo>
                  <a:pt x="36575" y="36575"/>
                </a:lnTo>
                <a:lnTo>
                  <a:pt x="41147" y="50291"/>
                </a:lnTo>
                <a:lnTo>
                  <a:pt x="47243" y="24383"/>
                </a:lnTo>
                <a:lnTo>
                  <a:pt x="48767" y="19811"/>
                </a:lnTo>
                <a:lnTo>
                  <a:pt x="50291" y="24383"/>
                </a:lnTo>
                <a:lnTo>
                  <a:pt x="54863" y="39623"/>
                </a:lnTo>
                <a:lnTo>
                  <a:pt x="56387" y="35051"/>
                </a:lnTo>
                <a:lnTo>
                  <a:pt x="59435" y="30479"/>
                </a:lnTo>
                <a:lnTo>
                  <a:pt x="59435" y="35051"/>
                </a:lnTo>
                <a:lnTo>
                  <a:pt x="60959" y="45719"/>
                </a:lnTo>
                <a:lnTo>
                  <a:pt x="65531" y="41147"/>
                </a:lnTo>
                <a:lnTo>
                  <a:pt x="88391" y="41147"/>
                </a:lnTo>
                <a:lnTo>
                  <a:pt x="88391" y="39623"/>
                </a:lnTo>
                <a:lnTo>
                  <a:pt x="89915" y="38099"/>
                </a:lnTo>
                <a:lnTo>
                  <a:pt x="89915" y="35051"/>
                </a:lnTo>
                <a:lnTo>
                  <a:pt x="91439" y="289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72076" y="2521316"/>
            <a:ext cx="1349774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Public Sector</a:t>
            </a:r>
            <a:r>
              <a:rPr sz="995" i="1" spc="-69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2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374183" y="2543737"/>
            <a:ext cx="172697" cy="20905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472076" y="3715661"/>
            <a:ext cx="1269484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Inside Sales</a:t>
            </a:r>
            <a:r>
              <a:rPr sz="995" i="1" spc="-78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5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345041" y="3756261"/>
            <a:ext cx="231022" cy="187848"/>
          </a:xfrm>
          <a:custGeom>
            <a:avLst/>
            <a:gdLst/>
            <a:ahLst/>
            <a:cxnLst/>
            <a:rect l="l" t="t" r="r" b="b"/>
            <a:pathLst>
              <a:path w="193675" h="157479">
                <a:moveTo>
                  <a:pt x="4619" y="109996"/>
                </a:moveTo>
                <a:lnTo>
                  <a:pt x="4619" y="60959"/>
                </a:lnTo>
                <a:lnTo>
                  <a:pt x="0" y="82748"/>
                </a:lnTo>
                <a:lnTo>
                  <a:pt x="1952" y="103822"/>
                </a:lnTo>
                <a:lnTo>
                  <a:pt x="4619" y="109996"/>
                </a:lnTo>
                <a:close/>
              </a:path>
              <a:path w="193675" h="157479">
                <a:moveTo>
                  <a:pt x="193643" y="73556"/>
                </a:moveTo>
                <a:lnTo>
                  <a:pt x="191690" y="52768"/>
                </a:lnTo>
                <a:lnTo>
                  <a:pt x="183451" y="33408"/>
                </a:lnTo>
                <a:lnTo>
                  <a:pt x="169211" y="16763"/>
                </a:lnTo>
                <a:lnTo>
                  <a:pt x="164639" y="4571"/>
                </a:lnTo>
                <a:lnTo>
                  <a:pt x="164639" y="1523"/>
                </a:lnTo>
                <a:lnTo>
                  <a:pt x="161591" y="0"/>
                </a:lnTo>
                <a:lnTo>
                  <a:pt x="157019" y="1523"/>
                </a:lnTo>
                <a:lnTo>
                  <a:pt x="4619" y="41147"/>
                </a:lnTo>
                <a:lnTo>
                  <a:pt x="1571" y="42671"/>
                </a:lnTo>
                <a:lnTo>
                  <a:pt x="47" y="45719"/>
                </a:lnTo>
                <a:lnTo>
                  <a:pt x="47" y="48767"/>
                </a:lnTo>
                <a:lnTo>
                  <a:pt x="4619" y="60959"/>
                </a:lnTo>
                <a:lnTo>
                  <a:pt x="4619" y="109996"/>
                </a:lnTo>
                <a:lnTo>
                  <a:pt x="10191" y="122896"/>
                </a:lnTo>
                <a:lnTo>
                  <a:pt x="24431" y="138683"/>
                </a:lnTo>
                <a:lnTo>
                  <a:pt x="25955" y="143255"/>
                </a:lnTo>
                <a:lnTo>
                  <a:pt x="25955" y="80771"/>
                </a:lnTo>
                <a:lnTo>
                  <a:pt x="30527" y="74675"/>
                </a:lnTo>
                <a:lnTo>
                  <a:pt x="39671" y="71627"/>
                </a:lnTo>
                <a:lnTo>
                  <a:pt x="42719" y="71627"/>
                </a:lnTo>
                <a:lnTo>
                  <a:pt x="54911" y="70103"/>
                </a:lnTo>
                <a:lnTo>
                  <a:pt x="57959" y="80771"/>
                </a:lnTo>
                <a:lnTo>
                  <a:pt x="57959" y="86867"/>
                </a:lnTo>
                <a:lnTo>
                  <a:pt x="59483" y="86867"/>
                </a:lnTo>
                <a:lnTo>
                  <a:pt x="62531" y="96011"/>
                </a:lnTo>
                <a:lnTo>
                  <a:pt x="64055" y="97535"/>
                </a:lnTo>
                <a:lnTo>
                  <a:pt x="64055" y="149231"/>
                </a:lnTo>
                <a:lnTo>
                  <a:pt x="68627" y="148009"/>
                </a:lnTo>
                <a:lnTo>
                  <a:pt x="68627" y="106679"/>
                </a:lnTo>
                <a:lnTo>
                  <a:pt x="71675" y="65531"/>
                </a:lnTo>
                <a:lnTo>
                  <a:pt x="80819" y="62483"/>
                </a:lnTo>
                <a:lnTo>
                  <a:pt x="97583" y="87071"/>
                </a:lnTo>
                <a:lnTo>
                  <a:pt x="97583" y="57911"/>
                </a:lnTo>
                <a:lnTo>
                  <a:pt x="106727" y="56387"/>
                </a:lnTo>
                <a:lnTo>
                  <a:pt x="115871" y="85343"/>
                </a:lnTo>
                <a:lnTo>
                  <a:pt x="129587" y="81603"/>
                </a:lnTo>
                <a:lnTo>
                  <a:pt x="129587" y="50291"/>
                </a:lnTo>
                <a:lnTo>
                  <a:pt x="157019" y="42671"/>
                </a:lnTo>
                <a:lnTo>
                  <a:pt x="160067" y="50291"/>
                </a:lnTo>
                <a:lnTo>
                  <a:pt x="160067" y="56387"/>
                </a:lnTo>
                <a:lnTo>
                  <a:pt x="161591" y="64007"/>
                </a:lnTo>
                <a:lnTo>
                  <a:pt x="161591" y="72683"/>
                </a:lnTo>
                <a:lnTo>
                  <a:pt x="166163" y="71627"/>
                </a:lnTo>
                <a:lnTo>
                  <a:pt x="169211" y="79247"/>
                </a:lnTo>
                <a:lnTo>
                  <a:pt x="169211" y="121120"/>
                </a:lnTo>
                <a:lnTo>
                  <a:pt x="189023" y="115823"/>
                </a:lnTo>
                <a:lnTo>
                  <a:pt x="189023" y="94487"/>
                </a:lnTo>
                <a:lnTo>
                  <a:pt x="193643" y="73556"/>
                </a:lnTo>
                <a:close/>
              </a:path>
              <a:path w="193675" h="157479">
                <a:moveTo>
                  <a:pt x="54911" y="102107"/>
                </a:moveTo>
                <a:lnTo>
                  <a:pt x="54911" y="99059"/>
                </a:lnTo>
                <a:lnTo>
                  <a:pt x="53387" y="96011"/>
                </a:lnTo>
                <a:lnTo>
                  <a:pt x="30527" y="96011"/>
                </a:lnTo>
                <a:lnTo>
                  <a:pt x="29003" y="88391"/>
                </a:lnTo>
                <a:lnTo>
                  <a:pt x="25955" y="80771"/>
                </a:lnTo>
                <a:lnTo>
                  <a:pt x="25955" y="143255"/>
                </a:lnTo>
                <a:lnTo>
                  <a:pt x="29003" y="152399"/>
                </a:lnTo>
                <a:lnTo>
                  <a:pt x="29003" y="155447"/>
                </a:lnTo>
                <a:lnTo>
                  <a:pt x="30527" y="156209"/>
                </a:lnTo>
                <a:lnTo>
                  <a:pt x="30527" y="103631"/>
                </a:lnTo>
                <a:lnTo>
                  <a:pt x="39671" y="100583"/>
                </a:lnTo>
                <a:lnTo>
                  <a:pt x="41195" y="105155"/>
                </a:lnTo>
                <a:lnTo>
                  <a:pt x="48815" y="105155"/>
                </a:lnTo>
                <a:lnTo>
                  <a:pt x="50339" y="103631"/>
                </a:lnTo>
                <a:lnTo>
                  <a:pt x="54911" y="102107"/>
                </a:lnTo>
                <a:close/>
              </a:path>
              <a:path w="193675" h="157479">
                <a:moveTo>
                  <a:pt x="64055" y="149231"/>
                </a:moveTo>
                <a:lnTo>
                  <a:pt x="64055" y="100583"/>
                </a:lnTo>
                <a:lnTo>
                  <a:pt x="61007" y="105155"/>
                </a:lnTo>
                <a:lnTo>
                  <a:pt x="59483" y="108203"/>
                </a:lnTo>
                <a:lnTo>
                  <a:pt x="41195" y="114299"/>
                </a:lnTo>
                <a:lnTo>
                  <a:pt x="33575" y="111251"/>
                </a:lnTo>
                <a:lnTo>
                  <a:pt x="30527" y="103631"/>
                </a:lnTo>
                <a:lnTo>
                  <a:pt x="30527" y="156209"/>
                </a:lnTo>
                <a:lnTo>
                  <a:pt x="32051" y="156971"/>
                </a:lnTo>
                <a:lnTo>
                  <a:pt x="35099" y="156971"/>
                </a:lnTo>
                <a:lnTo>
                  <a:pt x="64055" y="149231"/>
                </a:lnTo>
                <a:close/>
              </a:path>
              <a:path w="193675" h="157479">
                <a:moveTo>
                  <a:pt x="57959" y="86867"/>
                </a:moveTo>
                <a:lnTo>
                  <a:pt x="57959" y="80771"/>
                </a:lnTo>
                <a:lnTo>
                  <a:pt x="48815" y="83819"/>
                </a:lnTo>
                <a:lnTo>
                  <a:pt x="48815" y="79247"/>
                </a:lnTo>
                <a:lnTo>
                  <a:pt x="44243" y="79247"/>
                </a:lnTo>
                <a:lnTo>
                  <a:pt x="41195" y="80771"/>
                </a:lnTo>
                <a:lnTo>
                  <a:pt x="39671" y="80771"/>
                </a:lnTo>
                <a:lnTo>
                  <a:pt x="35099" y="82295"/>
                </a:lnTo>
                <a:lnTo>
                  <a:pt x="35099" y="85343"/>
                </a:lnTo>
                <a:lnTo>
                  <a:pt x="36623" y="86867"/>
                </a:lnTo>
                <a:lnTo>
                  <a:pt x="57959" y="86867"/>
                </a:lnTo>
                <a:close/>
              </a:path>
              <a:path w="193675" h="157479">
                <a:moveTo>
                  <a:pt x="103679" y="138638"/>
                </a:moveTo>
                <a:lnTo>
                  <a:pt x="103679" y="96011"/>
                </a:lnTo>
                <a:lnTo>
                  <a:pt x="94535" y="99059"/>
                </a:lnTo>
                <a:lnTo>
                  <a:pt x="89963" y="91439"/>
                </a:lnTo>
                <a:lnTo>
                  <a:pt x="77771" y="96011"/>
                </a:lnTo>
                <a:lnTo>
                  <a:pt x="77771" y="103631"/>
                </a:lnTo>
                <a:lnTo>
                  <a:pt x="68627" y="106679"/>
                </a:lnTo>
                <a:lnTo>
                  <a:pt x="68627" y="148009"/>
                </a:lnTo>
                <a:lnTo>
                  <a:pt x="103679" y="138638"/>
                </a:lnTo>
                <a:close/>
              </a:path>
              <a:path w="193675" h="157479">
                <a:moveTo>
                  <a:pt x="85391" y="85343"/>
                </a:moveTo>
                <a:lnTo>
                  <a:pt x="77771" y="74675"/>
                </a:lnTo>
                <a:lnTo>
                  <a:pt x="77771" y="86867"/>
                </a:lnTo>
                <a:lnTo>
                  <a:pt x="85391" y="85343"/>
                </a:lnTo>
                <a:close/>
              </a:path>
              <a:path w="193675" h="157479">
                <a:moveTo>
                  <a:pt x="135683" y="130083"/>
                </a:moveTo>
                <a:lnTo>
                  <a:pt x="135683" y="88391"/>
                </a:lnTo>
                <a:lnTo>
                  <a:pt x="108251" y="96011"/>
                </a:lnTo>
                <a:lnTo>
                  <a:pt x="97583" y="57911"/>
                </a:lnTo>
                <a:lnTo>
                  <a:pt x="97583" y="87071"/>
                </a:lnTo>
                <a:lnTo>
                  <a:pt x="103679" y="96011"/>
                </a:lnTo>
                <a:lnTo>
                  <a:pt x="103679" y="138638"/>
                </a:lnTo>
                <a:lnTo>
                  <a:pt x="135683" y="130083"/>
                </a:lnTo>
                <a:close/>
              </a:path>
              <a:path w="193675" h="157479">
                <a:moveTo>
                  <a:pt x="169211" y="121120"/>
                </a:moveTo>
                <a:lnTo>
                  <a:pt x="169211" y="79247"/>
                </a:lnTo>
                <a:lnTo>
                  <a:pt x="140255" y="86867"/>
                </a:lnTo>
                <a:lnTo>
                  <a:pt x="129587" y="50291"/>
                </a:lnTo>
                <a:lnTo>
                  <a:pt x="129587" y="81603"/>
                </a:lnTo>
                <a:lnTo>
                  <a:pt x="132635" y="80771"/>
                </a:lnTo>
                <a:lnTo>
                  <a:pt x="135683" y="88391"/>
                </a:lnTo>
                <a:lnTo>
                  <a:pt x="135683" y="130083"/>
                </a:lnTo>
                <a:lnTo>
                  <a:pt x="169211" y="121120"/>
                </a:lnTo>
                <a:close/>
              </a:path>
              <a:path w="193675" h="157479">
                <a:moveTo>
                  <a:pt x="160067" y="56387"/>
                </a:moveTo>
                <a:lnTo>
                  <a:pt x="160067" y="50291"/>
                </a:lnTo>
                <a:lnTo>
                  <a:pt x="140255" y="54863"/>
                </a:lnTo>
                <a:lnTo>
                  <a:pt x="141779" y="60959"/>
                </a:lnTo>
                <a:lnTo>
                  <a:pt x="160067" y="56387"/>
                </a:lnTo>
                <a:close/>
              </a:path>
              <a:path w="193675" h="157479">
                <a:moveTo>
                  <a:pt x="161591" y="72683"/>
                </a:moveTo>
                <a:lnTo>
                  <a:pt x="161591" y="64007"/>
                </a:lnTo>
                <a:lnTo>
                  <a:pt x="144827" y="68579"/>
                </a:lnTo>
                <a:lnTo>
                  <a:pt x="146351" y="76199"/>
                </a:lnTo>
                <a:lnTo>
                  <a:pt x="161591" y="72683"/>
                </a:lnTo>
                <a:close/>
              </a:path>
              <a:path w="193675" h="157479">
                <a:moveTo>
                  <a:pt x="193595" y="111251"/>
                </a:moveTo>
                <a:lnTo>
                  <a:pt x="193595" y="108203"/>
                </a:lnTo>
                <a:lnTo>
                  <a:pt x="189023" y="94487"/>
                </a:lnTo>
                <a:lnTo>
                  <a:pt x="189023" y="115823"/>
                </a:lnTo>
                <a:lnTo>
                  <a:pt x="192071" y="114299"/>
                </a:lnTo>
                <a:lnTo>
                  <a:pt x="193595" y="1112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72076" y="3108490"/>
            <a:ext cx="1426276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Manufacturing</a:t>
            </a:r>
            <a:r>
              <a:rPr sz="995" i="1" spc="-82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2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343278" y="3147273"/>
            <a:ext cx="216630" cy="212843"/>
          </a:xfrm>
          <a:custGeom>
            <a:avLst/>
            <a:gdLst/>
            <a:ahLst/>
            <a:cxnLst/>
            <a:rect l="l" t="t" r="r" b="b"/>
            <a:pathLst>
              <a:path w="181610" h="178435">
                <a:moveTo>
                  <a:pt x="21335" y="111251"/>
                </a:moveTo>
                <a:lnTo>
                  <a:pt x="21335" y="68579"/>
                </a:lnTo>
                <a:lnTo>
                  <a:pt x="19811" y="70103"/>
                </a:lnTo>
                <a:lnTo>
                  <a:pt x="19811" y="73151"/>
                </a:lnTo>
                <a:lnTo>
                  <a:pt x="0" y="79247"/>
                </a:lnTo>
                <a:lnTo>
                  <a:pt x="23" y="86082"/>
                </a:lnTo>
                <a:lnTo>
                  <a:pt x="190" y="92773"/>
                </a:lnTo>
                <a:lnTo>
                  <a:pt x="642" y="99179"/>
                </a:lnTo>
                <a:lnTo>
                  <a:pt x="1523" y="105155"/>
                </a:lnTo>
                <a:lnTo>
                  <a:pt x="21335" y="111251"/>
                </a:lnTo>
                <a:close/>
              </a:path>
              <a:path w="181610" h="178435">
                <a:moveTo>
                  <a:pt x="50291" y="47077"/>
                </a:moveTo>
                <a:lnTo>
                  <a:pt x="50291" y="28955"/>
                </a:lnTo>
                <a:lnTo>
                  <a:pt x="41147" y="35051"/>
                </a:lnTo>
                <a:lnTo>
                  <a:pt x="22859" y="28955"/>
                </a:lnTo>
                <a:lnTo>
                  <a:pt x="16763" y="35051"/>
                </a:lnTo>
                <a:lnTo>
                  <a:pt x="12191" y="42671"/>
                </a:lnTo>
                <a:lnTo>
                  <a:pt x="9143" y="50291"/>
                </a:lnTo>
                <a:lnTo>
                  <a:pt x="21335" y="67055"/>
                </a:lnTo>
                <a:lnTo>
                  <a:pt x="21335" y="111251"/>
                </a:lnTo>
                <a:lnTo>
                  <a:pt x="22859" y="112775"/>
                </a:lnTo>
                <a:lnTo>
                  <a:pt x="22859" y="149351"/>
                </a:lnTo>
                <a:lnTo>
                  <a:pt x="25907" y="152399"/>
                </a:lnTo>
                <a:lnTo>
                  <a:pt x="31980" y="150531"/>
                </a:lnTo>
                <a:lnTo>
                  <a:pt x="31980" y="85177"/>
                </a:lnTo>
                <a:lnTo>
                  <a:pt x="37909" y="63436"/>
                </a:lnTo>
                <a:lnTo>
                  <a:pt x="50291" y="47077"/>
                </a:lnTo>
                <a:close/>
              </a:path>
              <a:path w="181610" h="178435">
                <a:moveTo>
                  <a:pt x="22859" y="149351"/>
                </a:moveTo>
                <a:lnTo>
                  <a:pt x="22859" y="115823"/>
                </a:lnTo>
                <a:lnTo>
                  <a:pt x="10667" y="132587"/>
                </a:lnTo>
                <a:lnTo>
                  <a:pt x="15239" y="140207"/>
                </a:lnTo>
                <a:lnTo>
                  <a:pt x="19811" y="146303"/>
                </a:lnTo>
                <a:lnTo>
                  <a:pt x="22859" y="149351"/>
                </a:lnTo>
                <a:close/>
              </a:path>
              <a:path w="181610" h="178435">
                <a:moveTo>
                  <a:pt x="149590" y="145421"/>
                </a:moveTo>
                <a:lnTo>
                  <a:pt x="149590" y="92487"/>
                </a:lnTo>
                <a:lnTo>
                  <a:pt x="144017" y="114680"/>
                </a:lnTo>
                <a:lnTo>
                  <a:pt x="130444" y="132873"/>
                </a:lnTo>
                <a:lnTo>
                  <a:pt x="109727" y="144779"/>
                </a:lnTo>
                <a:lnTo>
                  <a:pt x="86701" y="147851"/>
                </a:lnTo>
                <a:lnTo>
                  <a:pt x="64960" y="141922"/>
                </a:lnTo>
                <a:lnTo>
                  <a:pt x="46934" y="128277"/>
                </a:lnTo>
                <a:lnTo>
                  <a:pt x="35051" y="108203"/>
                </a:lnTo>
                <a:lnTo>
                  <a:pt x="31980" y="85177"/>
                </a:lnTo>
                <a:lnTo>
                  <a:pt x="31980" y="150531"/>
                </a:lnTo>
                <a:lnTo>
                  <a:pt x="45719" y="146303"/>
                </a:lnTo>
                <a:lnTo>
                  <a:pt x="48767" y="149351"/>
                </a:lnTo>
                <a:lnTo>
                  <a:pt x="51815" y="149351"/>
                </a:lnTo>
                <a:lnTo>
                  <a:pt x="51815" y="170687"/>
                </a:lnTo>
                <a:lnTo>
                  <a:pt x="57911" y="173735"/>
                </a:lnTo>
                <a:lnTo>
                  <a:pt x="67055" y="176783"/>
                </a:lnTo>
                <a:lnTo>
                  <a:pt x="74675" y="178307"/>
                </a:lnTo>
                <a:lnTo>
                  <a:pt x="86867" y="161543"/>
                </a:lnTo>
                <a:lnTo>
                  <a:pt x="96011" y="161543"/>
                </a:lnTo>
                <a:lnTo>
                  <a:pt x="109727" y="178307"/>
                </a:lnTo>
                <a:lnTo>
                  <a:pt x="112775" y="176783"/>
                </a:lnTo>
                <a:lnTo>
                  <a:pt x="117347" y="175259"/>
                </a:lnTo>
                <a:lnTo>
                  <a:pt x="120395" y="173735"/>
                </a:lnTo>
                <a:lnTo>
                  <a:pt x="124967" y="173735"/>
                </a:lnTo>
                <a:lnTo>
                  <a:pt x="128015" y="172211"/>
                </a:lnTo>
                <a:lnTo>
                  <a:pt x="131063" y="170179"/>
                </a:lnTo>
                <a:lnTo>
                  <a:pt x="131063" y="149351"/>
                </a:lnTo>
                <a:lnTo>
                  <a:pt x="140207" y="143255"/>
                </a:lnTo>
                <a:lnTo>
                  <a:pt x="149590" y="145421"/>
                </a:lnTo>
                <a:close/>
              </a:path>
              <a:path w="181610" h="178435">
                <a:moveTo>
                  <a:pt x="170687" y="45719"/>
                </a:moveTo>
                <a:lnTo>
                  <a:pt x="161543" y="30479"/>
                </a:lnTo>
                <a:lnTo>
                  <a:pt x="155447" y="25907"/>
                </a:lnTo>
                <a:lnTo>
                  <a:pt x="135635" y="32003"/>
                </a:lnTo>
                <a:lnTo>
                  <a:pt x="132587" y="28955"/>
                </a:lnTo>
                <a:lnTo>
                  <a:pt x="131063" y="28955"/>
                </a:lnTo>
                <a:lnTo>
                  <a:pt x="131063" y="7619"/>
                </a:lnTo>
                <a:lnTo>
                  <a:pt x="125325" y="4714"/>
                </a:lnTo>
                <a:lnTo>
                  <a:pt x="119443" y="2666"/>
                </a:lnTo>
                <a:lnTo>
                  <a:pt x="113276" y="1190"/>
                </a:lnTo>
                <a:lnTo>
                  <a:pt x="106679" y="0"/>
                </a:lnTo>
                <a:lnTo>
                  <a:pt x="94487" y="16763"/>
                </a:lnTo>
                <a:lnTo>
                  <a:pt x="85343" y="16763"/>
                </a:lnTo>
                <a:lnTo>
                  <a:pt x="71627" y="0"/>
                </a:lnTo>
                <a:lnTo>
                  <a:pt x="68579" y="1523"/>
                </a:lnTo>
                <a:lnTo>
                  <a:pt x="64007" y="1523"/>
                </a:lnTo>
                <a:lnTo>
                  <a:pt x="60959" y="3047"/>
                </a:lnTo>
                <a:lnTo>
                  <a:pt x="56387" y="4571"/>
                </a:lnTo>
                <a:lnTo>
                  <a:pt x="53339" y="6095"/>
                </a:lnTo>
                <a:lnTo>
                  <a:pt x="48767" y="7619"/>
                </a:lnTo>
                <a:lnTo>
                  <a:pt x="50291" y="28955"/>
                </a:lnTo>
                <a:lnTo>
                  <a:pt x="50291" y="47077"/>
                </a:lnTo>
                <a:lnTo>
                  <a:pt x="51554" y="45410"/>
                </a:lnTo>
                <a:lnTo>
                  <a:pt x="71627" y="33527"/>
                </a:lnTo>
                <a:lnTo>
                  <a:pt x="79247" y="30479"/>
                </a:lnTo>
                <a:lnTo>
                  <a:pt x="86867" y="28955"/>
                </a:lnTo>
                <a:lnTo>
                  <a:pt x="94487" y="30479"/>
                </a:lnTo>
                <a:lnTo>
                  <a:pt x="138207" y="53197"/>
                </a:lnTo>
                <a:lnTo>
                  <a:pt x="149590" y="92487"/>
                </a:lnTo>
                <a:lnTo>
                  <a:pt x="149590" y="145421"/>
                </a:lnTo>
                <a:lnTo>
                  <a:pt x="158495" y="147476"/>
                </a:lnTo>
                <a:lnTo>
                  <a:pt x="158495" y="62483"/>
                </a:lnTo>
                <a:lnTo>
                  <a:pt x="170687" y="45719"/>
                </a:lnTo>
                <a:close/>
              </a:path>
              <a:path w="181610" h="178435">
                <a:moveTo>
                  <a:pt x="132587" y="169163"/>
                </a:moveTo>
                <a:lnTo>
                  <a:pt x="131063" y="149351"/>
                </a:lnTo>
                <a:lnTo>
                  <a:pt x="131063" y="170179"/>
                </a:lnTo>
                <a:lnTo>
                  <a:pt x="132587" y="169163"/>
                </a:lnTo>
                <a:close/>
              </a:path>
              <a:path w="181610" h="178435">
                <a:moveTo>
                  <a:pt x="172211" y="128015"/>
                </a:moveTo>
                <a:lnTo>
                  <a:pt x="160019" y="111251"/>
                </a:lnTo>
                <a:lnTo>
                  <a:pt x="160019" y="64007"/>
                </a:lnTo>
                <a:lnTo>
                  <a:pt x="158495" y="64007"/>
                </a:lnTo>
                <a:lnTo>
                  <a:pt x="158495" y="147476"/>
                </a:lnTo>
                <a:lnTo>
                  <a:pt x="160019" y="147827"/>
                </a:lnTo>
                <a:lnTo>
                  <a:pt x="169163" y="135635"/>
                </a:lnTo>
                <a:lnTo>
                  <a:pt x="172211" y="128015"/>
                </a:lnTo>
                <a:close/>
              </a:path>
              <a:path w="181610" h="178435">
                <a:moveTo>
                  <a:pt x="181355" y="97535"/>
                </a:moveTo>
                <a:lnTo>
                  <a:pt x="181355" y="80771"/>
                </a:lnTo>
                <a:lnTo>
                  <a:pt x="179831" y="73151"/>
                </a:lnTo>
                <a:lnTo>
                  <a:pt x="160019" y="67055"/>
                </a:lnTo>
                <a:lnTo>
                  <a:pt x="160019" y="109727"/>
                </a:lnTo>
                <a:lnTo>
                  <a:pt x="161543" y="106679"/>
                </a:lnTo>
                <a:lnTo>
                  <a:pt x="161543" y="105155"/>
                </a:lnTo>
                <a:lnTo>
                  <a:pt x="181355" y="975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497798" y="3138184"/>
            <a:ext cx="78775" cy="224204"/>
          </a:xfrm>
          <a:custGeom>
            <a:avLst/>
            <a:gdLst/>
            <a:ahLst/>
            <a:cxnLst/>
            <a:rect l="l" t="t" r="r" b="b"/>
            <a:pathLst>
              <a:path w="66039" h="187960">
                <a:moveTo>
                  <a:pt x="0" y="0"/>
                </a:moveTo>
                <a:lnTo>
                  <a:pt x="0" y="187451"/>
                </a:lnTo>
                <a:lnTo>
                  <a:pt x="65531" y="187451"/>
                </a:lnTo>
                <a:lnTo>
                  <a:pt x="65531" y="0"/>
                </a:lnTo>
                <a:lnTo>
                  <a:pt x="0" y="0"/>
                </a:lnTo>
                <a:close/>
              </a:path>
            </a:pathLst>
          </a:custGeom>
          <a:solidFill>
            <a:srgbClr val="1F3FE6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423266" y="3212715"/>
            <a:ext cx="98468" cy="85592"/>
          </a:xfrm>
          <a:custGeom>
            <a:avLst/>
            <a:gdLst/>
            <a:ahLst/>
            <a:cxnLst/>
            <a:rect l="l" t="t" r="r" b="b"/>
            <a:pathLst>
              <a:path w="82550" h="71754">
                <a:moveTo>
                  <a:pt x="47243" y="38099"/>
                </a:moveTo>
                <a:lnTo>
                  <a:pt x="47243" y="24383"/>
                </a:lnTo>
                <a:lnTo>
                  <a:pt x="36575" y="35051"/>
                </a:lnTo>
                <a:lnTo>
                  <a:pt x="32003" y="35051"/>
                </a:lnTo>
                <a:lnTo>
                  <a:pt x="32003" y="24383"/>
                </a:lnTo>
                <a:lnTo>
                  <a:pt x="21335" y="35051"/>
                </a:lnTo>
                <a:lnTo>
                  <a:pt x="18287" y="35051"/>
                </a:lnTo>
                <a:lnTo>
                  <a:pt x="18287" y="24383"/>
                </a:lnTo>
                <a:lnTo>
                  <a:pt x="6095" y="35051"/>
                </a:lnTo>
                <a:lnTo>
                  <a:pt x="6095" y="15239"/>
                </a:lnTo>
                <a:lnTo>
                  <a:pt x="3047" y="16763"/>
                </a:lnTo>
                <a:lnTo>
                  <a:pt x="0" y="10667"/>
                </a:lnTo>
                <a:lnTo>
                  <a:pt x="0" y="71627"/>
                </a:lnTo>
                <a:lnTo>
                  <a:pt x="7619" y="71627"/>
                </a:lnTo>
                <a:lnTo>
                  <a:pt x="7619" y="38099"/>
                </a:lnTo>
                <a:lnTo>
                  <a:pt x="10667" y="38099"/>
                </a:lnTo>
                <a:lnTo>
                  <a:pt x="10667" y="71627"/>
                </a:lnTo>
                <a:lnTo>
                  <a:pt x="12191" y="71627"/>
                </a:lnTo>
                <a:lnTo>
                  <a:pt x="12191" y="38099"/>
                </a:lnTo>
                <a:lnTo>
                  <a:pt x="15239" y="38099"/>
                </a:lnTo>
                <a:lnTo>
                  <a:pt x="15239" y="71627"/>
                </a:lnTo>
                <a:lnTo>
                  <a:pt x="16763" y="71627"/>
                </a:lnTo>
                <a:lnTo>
                  <a:pt x="16763" y="38099"/>
                </a:lnTo>
                <a:lnTo>
                  <a:pt x="21335" y="38099"/>
                </a:lnTo>
                <a:lnTo>
                  <a:pt x="21335" y="71627"/>
                </a:lnTo>
                <a:lnTo>
                  <a:pt x="22859" y="71627"/>
                </a:lnTo>
                <a:lnTo>
                  <a:pt x="22859" y="38099"/>
                </a:lnTo>
                <a:lnTo>
                  <a:pt x="25907" y="38099"/>
                </a:lnTo>
                <a:lnTo>
                  <a:pt x="25907" y="71627"/>
                </a:lnTo>
                <a:lnTo>
                  <a:pt x="27431" y="71627"/>
                </a:lnTo>
                <a:lnTo>
                  <a:pt x="27431" y="38099"/>
                </a:lnTo>
                <a:lnTo>
                  <a:pt x="36575" y="38099"/>
                </a:lnTo>
                <a:lnTo>
                  <a:pt x="36575" y="71627"/>
                </a:lnTo>
                <a:lnTo>
                  <a:pt x="38099" y="71627"/>
                </a:lnTo>
                <a:lnTo>
                  <a:pt x="38099" y="38099"/>
                </a:lnTo>
                <a:lnTo>
                  <a:pt x="41147" y="38099"/>
                </a:lnTo>
                <a:lnTo>
                  <a:pt x="41147" y="71627"/>
                </a:lnTo>
                <a:lnTo>
                  <a:pt x="42671" y="71627"/>
                </a:lnTo>
                <a:lnTo>
                  <a:pt x="42671" y="38099"/>
                </a:lnTo>
                <a:lnTo>
                  <a:pt x="47243" y="38099"/>
                </a:lnTo>
                <a:close/>
              </a:path>
              <a:path w="82550" h="71754">
                <a:moveTo>
                  <a:pt x="10667" y="51815"/>
                </a:moveTo>
                <a:lnTo>
                  <a:pt x="10667" y="50291"/>
                </a:lnTo>
                <a:lnTo>
                  <a:pt x="7619" y="50291"/>
                </a:lnTo>
                <a:lnTo>
                  <a:pt x="7619" y="51815"/>
                </a:lnTo>
                <a:lnTo>
                  <a:pt x="10667" y="51815"/>
                </a:lnTo>
                <a:close/>
              </a:path>
              <a:path w="82550" h="71754">
                <a:moveTo>
                  <a:pt x="10667" y="57911"/>
                </a:moveTo>
                <a:lnTo>
                  <a:pt x="10667" y="56387"/>
                </a:lnTo>
                <a:lnTo>
                  <a:pt x="7619" y="56387"/>
                </a:lnTo>
                <a:lnTo>
                  <a:pt x="7619" y="57911"/>
                </a:lnTo>
                <a:lnTo>
                  <a:pt x="10667" y="57911"/>
                </a:lnTo>
                <a:close/>
              </a:path>
              <a:path w="82550" h="71754">
                <a:moveTo>
                  <a:pt x="10667" y="71627"/>
                </a:moveTo>
                <a:lnTo>
                  <a:pt x="10667" y="67055"/>
                </a:lnTo>
                <a:lnTo>
                  <a:pt x="7619" y="67055"/>
                </a:lnTo>
                <a:lnTo>
                  <a:pt x="7619" y="71627"/>
                </a:lnTo>
                <a:lnTo>
                  <a:pt x="10667" y="71627"/>
                </a:lnTo>
                <a:close/>
              </a:path>
              <a:path w="82550" h="71754">
                <a:moveTo>
                  <a:pt x="15239" y="51815"/>
                </a:moveTo>
                <a:lnTo>
                  <a:pt x="15239" y="50291"/>
                </a:lnTo>
                <a:lnTo>
                  <a:pt x="12191" y="50291"/>
                </a:lnTo>
                <a:lnTo>
                  <a:pt x="12191" y="51815"/>
                </a:lnTo>
                <a:lnTo>
                  <a:pt x="15239" y="51815"/>
                </a:lnTo>
                <a:close/>
              </a:path>
              <a:path w="82550" h="71754">
                <a:moveTo>
                  <a:pt x="15239" y="57911"/>
                </a:moveTo>
                <a:lnTo>
                  <a:pt x="15239" y="56387"/>
                </a:lnTo>
                <a:lnTo>
                  <a:pt x="12191" y="56387"/>
                </a:lnTo>
                <a:lnTo>
                  <a:pt x="12191" y="57911"/>
                </a:lnTo>
                <a:lnTo>
                  <a:pt x="15239" y="57911"/>
                </a:lnTo>
                <a:close/>
              </a:path>
              <a:path w="82550" h="71754">
                <a:moveTo>
                  <a:pt x="15239" y="71627"/>
                </a:moveTo>
                <a:lnTo>
                  <a:pt x="15239" y="67055"/>
                </a:lnTo>
                <a:lnTo>
                  <a:pt x="12191" y="67055"/>
                </a:lnTo>
                <a:lnTo>
                  <a:pt x="12191" y="71627"/>
                </a:lnTo>
                <a:lnTo>
                  <a:pt x="15239" y="71627"/>
                </a:lnTo>
                <a:close/>
              </a:path>
              <a:path w="82550" h="71754">
                <a:moveTo>
                  <a:pt x="21335" y="51815"/>
                </a:moveTo>
                <a:lnTo>
                  <a:pt x="21335" y="50291"/>
                </a:lnTo>
                <a:lnTo>
                  <a:pt x="16763" y="50291"/>
                </a:lnTo>
                <a:lnTo>
                  <a:pt x="16763" y="51815"/>
                </a:lnTo>
                <a:lnTo>
                  <a:pt x="21335" y="51815"/>
                </a:lnTo>
                <a:close/>
              </a:path>
              <a:path w="82550" h="71754">
                <a:moveTo>
                  <a:pt x="21335" y="57911"/>
                </a:moveTo>
                <a:lnTo>
                  <a:pt x="21335" y="56387"/>
                </a:lnTo>
                <a:lnTo>
                  <a:pt x="16763" y="56387"/>
                </a:lnTo>
                <a:lnTo>
                  <a:pt x="16763" y="57911"/>
                </a:lnTo>
                <a:lnTo>
                  <a:pt x="21335" y="57911"/>
                </a:lnTo>
                <a:close/>
              </a:path>
              <a:path w="82550" h="71754">
                <a:moveTo>
                  <a:pt x="21335" y="71627"/>
                </a:moveTo>
                <a:lnTo>
                  <a:pt x="21335" y="67055"/>
                </a:lnTo>
                <a:lnTo>
                  <a:pt x="16763" y="67055"/>
                </a:lnTo>
                <a:lnTo>
                  <a:pt x="16763" y="71627"/>
                </a:lnTo>
                <a:lnTo>
                  <a:pt x="21335" y="71627"/>
                </a:lnTo>
                <a:close/>
              </a:path>
              <a:path w="82550" h="71754">
                <a:moveTo>
                  <a:pt x="25907" y="51815"/>
                </a:moveTo>
                <a:lnTo>
                  <a:pt x="25907" y="50291"/>
                </a:lnTo>
                <a:lnTo>
                  <a:pt x="22859" y="50291"/>
                </a:lnTo>
                <a:lnTo>
                  <a:pt x="22859" y="51815"/>
                </a:lnTo>
                <a:lnTo>
                  <a:pt x="25907" y="51815"/>
                </a:lnTo>
                <a:close/>
              </a:path>
              <a:path w="82550" h="71754">
                <a:moveTo>
                  <a:pt x="25907" y="57911"/>
                </a:moveTo>
                <a:lnTo>
                  <a:pt x="25907" y="56387"/>
                </a:lnTo>
                <a:lnTo>
                  <a:pt x="22859" y="56387"/>
                </a:lnTo>
                <a:lnTo>
                  <a:pt x="22859" y="57911"/>
                </a:lnTo>
                <a:lnTo>
                  <a:pt x="25907" y="57911"/>
                </a:lnTo>
                <a:close/>
              </a:path>
              <a:path w="82550" h="71754">
                <a:moveTo>
                  <a:pt x="25907" y="71627"/>
                </a:moveTo>
                <a:lnTo>
                  <a:pt x="25907" y="67055"/>
                </a:lnTo>
                <a:lnTo>
                  <a:pt x="22859" y="67055"/>
                </a:lnTo>
                <a:lnTo>
                  <a:pt x="22859" y="71627"/>
                </a:lnTo>
                <a:lnTo>
                  <a:pt x="25907" y="71627"/>
                </a:lnTo>
                <a:close/>
              </a:path>
              <a:path w="82550" h="71754">
                <a:moveTo>
                  <a:pt x="36575" y="51815"/>
                </a:moveTo>
                <a:lnTo>
                  <a:pt x="36575" y="50291"/>
                </a:lnTo>
                <a:lnTo>
                  <a:pt x="27431" y="50291"/>
                </a:lnTo>
                <a:lnTo>
                  <a:pt x="27431" y="51815"/>
                </a:lnTo>
                <a:lnTo>
                  <a:pt x="36575" y="51815"/>
                </a:lnTo>
                <a:close/>
              </a:path>
              <a:path w="82550" h="71754">
                <a:moveTo>
                  <a:pt x="36575" y="57911"/>
                </a:moveTo>
                <a:lnTo>
                  <a:pt x="36575" y="56387"/>
                </a:lnTo>
                <a:lnTo>
                  <a:pt x="27431" y="56387"/>
                </a:lnTo>
                <a:lnTo>
                  <a:pt x="27431" y="57911"/>
                </a:lnTo>
                <a:lnTo>
                  <a:pt x="36575" y="57911"/>
                </a:lnTo>
                <a:close/>
              </a:path>
              <a:path w="82550" h="71754">
                <a:moveTo>
                  <a:pt x="36575" y="71627"/>
                </a:moveTo>
                <a:lnTo>
                  <a:pt x="36575" y="67055"/>
                </a:lnTo>
                <a:lnTo>
                  <a:pt x="27431" y="67055"/>
                </a:lnTo>
                <a:lnTo>
                  <a:pt x="27431" y="71627"/>
                </a:lnTo>
                <a:lnTo>
                  <a:pt x="36575" y="71627"/>
                </a:lnTo>
                <a:close/>
              </a:path>
              <a:path w="82550" h="71754">
                <a:moveTo>
                  <a:pt x="41147" y="51815"/>
                </a:moveTo>
                <a:lnTo>
                  <a:pt x="41147" y="50291"/>
                </a:lnTo>
                <a:lnTo>
                  <a:pt x="38099" y="50291"/>
                </a:lnTo>
                <a:lnTo>
                  <a:pt x="38099" y="51815"/>
                </a:lnTo>
                <a:lnTo>
                  <a:pt x="41147" y="51815"/>
                </a:lnTo>
                <a:close/>
              </a:path>
              <a:path w="82550" h="71754">
                <a:moveTo>
                  <a:pt x="41147" y="57911"/>
                </a:moveTo>
                <a:lnTo>
                  <a:pt x="41147" y="56387"/>
                </a:lnTo>
                <a:lnTo>
                  <a:pt x="38099" y="56387"/>
                </a:lnTo>
                <a:lnTo>
                  <a:pt x="38099" y="57911"/>
                </a:lnTo>
                <a:lnTo>
                  <a:pt x="41147" y="57911"/>
                </a:lnTo>
                <a:close/>
              </a:path>
              <a:path w="82550" h="71754">
                <a:moveTo>
                  <a:pt x="41147" y="71627"/>
                </a:moveTo>
                <a:lnTo>
                  <a:pt x="41147" y="67055"/>
                </a:lnTo>
                <a:lnTo>
                  <a:pt x="38099" y="67055"/>
                </a:lnTo>
                <a:lnTo>
                  <a:pt x="38099" y="71627"/>
                </a:lnTo>
                <a:lnTo>
                  <a:pt x="41147" y="71627"/>
                </a:lnTo>
                <a:close/>
              </a:path>
              <a:path w="82550" h="71754">
                <a:moveTo>
                  <a:pt x="47243" y="51815"/>
                </a:moveTo>
                <a:lnTo>
                  <a:pt x="47243" y="50291"/>
                </a:lnTo>
                <a:lnTo>
                  <a:pt x="42671" y="50291"/>
                </a:lnTo>
                <a:lnTo>
                  <a:pt x="42671" y="51815"/>
                </a:lnTo>
                <a:lnTo>
                  <a:pt x="47243" y="51815"/>
                </a:lnTo>
                <a:close/>
              </a:path>
              <a:path w="82550" h="71754">
                <a:moveTo>
                  <a:pt x="47243" y="57911"/>
                </a:moveTo>
                <a:lnTo>
                  <a:pt x="47243" y="56387"/>
                </a:lnTo>
                <a:lnTo>
                  <a:pt x="42671" y="56387"/>
                </a:lnTo>
                <a:lnTo>
                  <a:pt x="42671" y="57911"/>
                </a:lnTo>
                <a:lnTo>
                  <a:pt x="47243" y="57911"/>
                </a:lnTo>
                <a:close/>
              </a:path>
              <a:path w="82550" h="71754">
                <a:moveTo>
                  <a:pt x="82295" y="71627"/>
                </a:moveTo>
                <a:lnTo>
                  <a:pt x="82295" y="44195"/>
                </a:lnTo>
                <a:lnTo>
                  <a:pt x="80771" y="44195"/>
                </a:lnTo>
                <a:lnTo>
                  <a:pt x="80771" y="41147"/>
                </a:lnTo>
                <a:lnTo>
                  <a:pt x="79247" y="41147"/>
                </a:lnTo>
                <a:lnTo>
                  <a:pt x="79247" y="9143"/>
                </a:lnTo>
                <a:lnTo>
                  <a:pt x="73151" y="9143"/>
                </a:lnTo>
                <a:lnTo>
                  <a:pt x="67055" y="0"/>
                </a:lnTo>
                <a:lnTo>
                  <a:pt x="67055" y="41147"/>
                </a:lnTo>
                <a:lnTo>
                  <a:pt x="65531" y="41147"/>
                </a:lnTo>
                <a:lnTo>
                  <a:pt x="65531" y="44195"/>
                </a:lnTo>
                <a:lnTo>
                  <a:pt x="62483" y="44195"/>
                </a:lnTo>
                <a:lnTo>
                  <a:pt x="62483" y="35051"/>
                </a:lnTo>
                <a:lnTo>
                  <a:pt x="59435" y="35051"/>
                </a:lnTo>
                <a:lnTo>
                  <a:pt x="59435" y="24383"/>
                </a:lnTo>
                <a:lnTo>
                  <a:pt x="50291" y="33527"/>
                </a:lnTo>
                <a:lnTo>
                  <a:pt x="47243" y="33527"/>
                </a:lnTo>
                <a:lnTo>
                  <a:pt x="47243" y="67055"/>
                </a:lnTo>
                <a:lnTo>
                  <a:pt x="42671" y="67055"/>
                </a:lnTo>
                <a:lnTo>
                  <a:pt x="42671" y="71627"/>
                </a:lnTo>
                <a:lnTo>
                  <a:pt x="48767" y="71627"/>
                </a:lnTo>
                <a:lnTo>
                  <a:pt x="48767" y="38099"/>
                </a:lnTo>
                <a:lnTo>
                  <a:pt x="51815" y="38099"/>
                </a:lnTo>
                <a:lnTo>
                  <a:pt x="51815" y="71627"/>
                </a:lnTo>
                <a:lnTo>
                  <a:pt x="53339" y="71627"/>
                </a:lnTo>
                <a:lnTo>
                  <a:pt x="53339" y="38099"/>
                </a:lnTo>
                <a:lnTo>
                  <a:pt x="56387" y="38099"/>
                </a:lnTo>
                <a:lnTo>
                  <a:pt x="56387" y="71627"/>
                </a:lnTo>
                <a:lnTo>
                  <a:pt x="82295" y="71627"/>
                </a:lnTo>
                <a:close/>
              </a:path>
              <a:path w="82550" h="71754">
                <a:moveTo>
                  <a:pt x="51815" y="51815"/>
                </a:moveTo>
                <a:lnTo>
                  <a:pt x="51815" y="50291"/>
                </a:lnTo>
                <a:lnTo>
                  <a:pt x="48767" y="50291"/>
                </a:lnTo>
                <a:lnTo>
                  <a:pt x="48767" y="51815"/>
                </a:lnTo>
                <a:lnTo>
                  <a:pt x="51815" y="51815"/>
                </a:lnTo>
                <a:close/>
              </a:path>
              <a:path w="82550" h="71754">
                <a:moveTo>
                  <a:pt x="51815" y="57911"/>
                </a:moveTo>
                <a:lnTo>
                  <a:pt x="51815" y="56387"/>
                </a:lnTo>
                <a:lnTo>
                  <a:pt x="48767" y="56387"/>
                </a:lnTo>
                <a:lnTo>
                  <a:pt x="48767" y="57911"/>
                </a:lnTo>
                <a:lnTo>
                  <a:pt x="51815" y="57911"/>
                </a:lnTo>
                <a:close/>
              </a:path>
              <a:path w="82550" h="71754">
                <a:moveTo>
                  <a:pt x="51815" y="71627"/>
                </a:moveTo>
                <a:lnTo>
                  <a:pt x="51815" y="67055"/>
                </a:lnTo>
                <a:lnTo>
                  <a:pt x="48767" y="67055"/>
                </a:lnTo>
                <a:lnTo>
                  <a:pt x="48767" y="71627"/>
                </a:lnTo>
                <a:lnTo>
                  <a:pt x="51815" y="71627"/>
                </a:lnTo>
                <a:close/>
              </a:path>
              <a:path w="82550" h="71754">
                <a:moveTo>
                  <a:pt x="56387" y="51815"/>
                </a:moveTo>
                <a:lnTo>
                  <a:pt x="56387" y="50291"/>
                </a:lnTo>
                <a:lnTo>
                  <a:pt x="53339" y="50291"/>
                </a:lnTo>
                <a:lnTo>
                  <a:pt x="53339" y="51815"/>
                </a:lnTo>
                <a:lnTo>
                  <a:pt x="56387" y="51815"/>
                </a:lnTo>
                <a:close/>
              </a:path>
              <a:path w="82550" h="71754">
                <a:moveTo>
                  <a:pt x="56387" y="57911"/>
                </a:moveTo>
                <a:lnTo>
                  <a:pt x="56387" y="56387"/>
                </a:lnTo>
                <a:lnTo>
                  <a:pt x="53339" y="56387"/>
                </a:lnTo>
                <a:lnTo>
                  <a:pt x="53339" y="57911"/>
                </a:lnTo>
                <a:lnTo>
                  <a:pt x="56387" y="57911"/>
                </a:lnTo>
                <a:close/>
              </a:path>
              <a:path w="82550" h="71754">
                <a:moveTo>
                  <a:pt x="56387" y="71627"/>
                </a:moveTo>
                <a:lnTo>
                  <a:pt x="56387" y="67055"/>
                </a:lnTo>
                <a:lnTo>
                  <a:pt x="53339" y="67055"/>
                </a:lnTo>
                <a:lnTo>
                  <a:pt x="53339" y="71627"/>
                </a:lnTo>
                <a:lnTo>
                  <a:pt x="56387" y="7162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508706" y="3190901"/>
            <a:ext cx="45446" cy="33328"/>
          </a:xfrm>
          <a:custGeom>
            <a:avLst/>
            <a:gdLst/>
            <a:ahLst/>
            <a:cxnLst/>
            <a:rect l="l" t="t" r="r" b="b"/>
            <a:pathLst>
              <a:path w="38100" h="27939">
                <a:moveTo>
                  <a:pt x="35051" y="3047"/>
                </a:moveTo>
                <a:lnTo>
                  <a:pt x="28955" y="1523"/>
                </a:lnTo>
                <a:lnTo>
                  <a:pt x="24383" y="1523"/>
                </a:lnTo>
                <a:lnTo>
                  <a:pt x="22859" y="3047"/>
                </a:lnTo>
                <a:lnTo>
                  <a:pt x="22859" y="0"/>
                </a:lnTo>
                <a:lnTo>
                  <a:pt x="18287" y="1523"/>
                </a:lnTo>
                <a:lnTo>
                  <a:pt x="13715" y="6095"/>
                </a:lnTo>
                <a:lnTo>
                  <a:pt x="9143" y="4571"/>
                </a:lnTo>
                <a:lnTo>
                  <a:pt x="6095" y="10667"/>
                </a:lnTo>
                <a:lnTo>
                  <a:pt x="0" y="15239"/>
                </a:lnTo>
                <a:lnTo>
                  <a:pt x="1523" y="24383"/>
                </a:lnTo>
                <a:lnTo>
                  <a:pt x="4571" y="27431"/>
                </a:lnTo>
                <a:lnTo>
                  <a:pt x="4571" y="16763"/>
                </a:lnTo>
                <a:lnTo>
                  <a:pt x="6095" y="16763"/>
                </a:lnTo>
                <a:lnTo>
                  <a:pt x="12191" y="18287"/>
                </a:lnTo>
                <a:lnTo>
                  <a:pt x="12191" y="15239"/>
                </a:lnTo>
                <a:lnTo>
                  <a:pt x="15239" y="18287"/>
                </a:lnTo>
                <a:lnTo>
                  <a:pt x="18287" y="15239"/>
                </a:lnTo>
                <a:lnTo>
                  <a:pt x="21335" y="18287"/>
                </a:lnTo>
                <a:lnTo>
                  <a:pt x="24383" y="15239"/>
                </a:lnTo>
                <a:lnTo>
                  <a:pt x="25907" y="19811"/>
                </a:lnTo>
                <a:lnTo>
                  <a:pt x="33527" y="18287"/>
                </a:lnTo>
                <a:lnTo>
                  <a:pt x="33527" y="6095"/>
                </a:lnTo>
                <a:lnTo>
                  <a:pt x="35051" y="3047"/>
                </a:lnTo>
                <a:close/>
              </a:path>
              <a:path w="38100" h="27939">
                <a:moveTo>
                  <a:pt x="38099" y="12191"/>
                </a:moveTo>
                <a:lnTo>
                  <a:pt x="38099" y="6095"/>
                </a:lnTo>
                <a:lnTo>
                  <a:pt x="33527" y="6095"/>
                </a:lnTo>
                <a:lnTo>
                  <a:pt x="33527" y="12191"/>
                </a:lnTo>
                <a:lnTo>
                  <a:pt x="38099" y="121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472076" y="2817629"/>
            <a:ext cx="755177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Retail</a:t>
            </a:r>
            <a:r>
              <a:rPr sz="995" i="1" spc="-78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2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348732" y="2830963"/>
            <a:ext cx="224204" cy="202238"/>
          </a:xfrm>
          <a:custGeom>
            <a:avLst/>
            <a:gdLst/>
            <a:ahLst/>
            <a:cxnLst/>
            <a:rect l="l" t="t" r="r" b="b"/>
            <a:pathLst>
              <a:path w="187960" h="169545">
                <a:moveTo>
                  <a:pt x="16763" y="169163"/>
                </a:moveTo>
                <a:lnTo>
                  <a:pt x="16763" y="16763"/>
                </a:lnTo>
                <a:lnTo>
                  <a:pt x="0" y="77723"/>
                </a:lnTo>
                <a:lnTo>
                  <a:pt x="13715" y="76199"/>
                </a:lnTo>
                <a:lnTo>
                  <a:pt x="13715" y="169163"/>
                </a:lnTo>
                <a:lnTo>
                  <a:pt x="16763" y="169163"/>
                </a:lnTo>
                <a:close/>
              </a:path>
              <a:path w="187960" h="169545">
                <a:moveTo>
                  <a:pt x="13715" y="169163"/>
                </a:moveTo>
                <a:lnTo>
                  <a:pt x="13715" y="155447"/>
                </a:lnTo>
                <a:lnTo>
                  <a:pt x="6095" y="155447"/>
                </a:lnTo>
                <a:lnTo>
                  <a:pt x="6095" y="169163"/>
                </a:lnTo>
                <a:lnTo>
                  <a:pt x="13715" y="169163"/>
                </a:lnTo>
                <a:close/>
              </a:path>
              <a:path w="187960" h="169545">
                <a:moveTo>
                  <a:pt x="175640" y="5714"/>
                </a:moveTo>
                <a:lnTo>
                  <a:pt x="171116" y="1142"/>
                </a:lnTo>
                <a:lnTo>
                  <a:pt x="160019" y="0"/>
                </a:lnTo>
                <a:lnTo>
                  <a:pt x="21335" y="0"/>
                </a:lnTo>
                <a:lnTo>
                  <a:pt x="13977" y="2405"/>
                </a:lnTo>
                <a:lnTo>
                  <a:pt x="11620" y="7810"/>
                </a:lnTo>
                <a:lnTo>
                  <a:pt x="12977" y="13501"/>
                </a:lnTo>
                <a:lnTo>
                  <a:pt x="16763" y="16763"/>
                </a:lnTo>
                <a:lnTo>
                  <a:pt x="16763" y="169163"/>
                </a:lnTo>
                <a:lnTo>
                  <a:pt x="19811" y="169163"/>
                </a:lnTo>
                <a:lnTo>
                  <a:pt x="19811" y="71627"/>
                </a:lnTo>
                <a:lnTo>
                  <a:pt x="28955" y="25907"/>
                </a:lnTo>
                <a:lnTo>
                  <a:pt x="28955" y="21335"/>
                </a:lnTo>
                <a:lnTo>
                  <a:pt x="33527" y="18287"/>
                </a:lnTo>
                <a:lnTo>
                  <a:pt x="42671" y="18287"/>
                </a:lnTo>
                <a:lnTo>
                  <a:pt x="47243" y="21335"/>
                </a:lnTo>
                <a:lnTo>
                  <a:pt x="47243" y="85343"/>
                </a:lnTo>
                <a:lnTo>
                  <a:pt x="62483" y="85343"/>
                </a:lnTo>
                <a:lnTo>
                  <a:pt x="62483" y="70103"/>
                </a:lnTo>
                <a:lnTo>
                  <a:pt x="67055" y="25907"/>
                </a:lnTo>
                <a:lnTo>
                  <a:pt x="67055" y="19811"/>
                </a:lnTo>
                <a:lnTo>
                  <a:pt x="71627" y="18287"/>
                </a:lnTo>
                <a:lnTo>
                  <a:pt x="80771" y="18287"/>
                </a:lnTo>
                <a:lnTo>
                  <a:pt x="85343" y="19811"/>
                </a:lnTo>
                <a:lnTo>
                  <a:pt x="85343" y="85343"/>
                </a:lnTo>
                <a:lnTo>
                  <a:pt x="103631" y="85343"/>
                </a:lnTo>
                <a:lnTo>
                  <a:pt x="103631" y="19811"/>
                </a:lnTo>
                <a:lnTo>
                  <a:pt x="108203" y="18287"/>
                </a:lnTo>
                <a:lnTo>
                  <a:pt x="117347" y="18287"/>
                </a:lnTo>
                <a:lnTo>
                  <a:pt x="121919" y="19811"/>
                </a:lnTo>
                <a:lnTo>
                  <a:pt x="123443" y="25907"/>
                </a:lnTo>
                <a:lnTo>
                  <a:pt x="128015" y="70103"/>
                </a:lnTo>
                <a:lnTo>
                  <a:pt x="128015" y="85343"/>
                </a:lnTo>
                <a:lnTo>
                  <a:pt x="140207" y="85343"/>
                </a:lnTo>
                <a:lnTo>
                  <a:pt x="140207" y="21335"/>
                </a:lnTo>
                <a:lnTo>
                  <a:pt x="144779" y="18287"/>
                </a:lnTo>
                <a:lnTo>
                  <a:pt x="153923" y="18287"/>
                </a:lnTo>
                <a:lnTo>
                  <a:pt x="158495" y="21335"/>
                </a:lnTo>
                <a:lnTo>
                  <a:pt x="160019" y="25907"/>
                </a:lnTo>
                <a:lnTo>
                  <a:pt x="167639" y="71627"/>
                </a:lnTo>
                <a:lnTo>
                  <a:pt x="167639" y="169163"/>
                </a:lnTo>
                <a:lnTo>
                  <a:pt x="170687" y="169163"/>
                </a:lnTo>
                <a:lnTo>
                  <a:pt x="170687" y="18287"/>
                </a:lnTo>
                <a:lnTo>
                  <a:pt x="175021" y="12001"/>
                </a:lnTo>
                <a:lnTo>
                  <a:pt x="175640" y="5714"/>
                </a:lnTo>
                <a:close/>
              </a:path>
              <a:path w="187960" h="169545">
                <a:moveTo>
                  <a:pt x="47243" y="85343"/>
                </a:moveTo>
                <a:lnTo>
                  <a:pt x="47243" y="25907"/>
                </a:lnTo>
                <a:lnTo>
                  <a:pt x="42671" y="70103"/>
                </a:lnTo>
                <a:lnTo>
                  <a:pt x="19811" y="71627"/>
                </a:lnTo>
                <a:lnTo>
                  <a:pt x="19811" y="169163"/>
                </a:lnTo>
                <a:lnTo>
                  <a:pt x="30479" y="169163"/>
                </a:lnTo>
                <a:lnTo>
                  <a:pt x="30479" y="85343"/>
                </a:lnTo>
                <a:lnTo>
                  <a:pt x="47243" y="85343"/>
                </a:lnTo>
                <a:close/>
              </a:path>
              <a:path w="187960" h="169545">
                <a:moveTo>
                  <a:pt x="108203" y="169163"/>
                </a:moveTo>
                <a:lnTo>
                  <a:pt x="108203" y="121919"/>
                </a:lnTo>
                <a:lnTo>
                  <a:pt x="30479" y="121919"/>
                </a:lnTo>
                <a:lnTo>
                  <a:pt x="30479" y="169163"/>
                </a:lnTo>
                <a:lnTo>
                  <a:pt x="108203" y="169163"/>
                </a:lnTo>
                <a:close/>
              </a:path>
              <a:path w="187960" h="169545">
                <a:moveTo>
                  <a:pt x="85343" y="85343"/>
                </a:moveTo>
                <a:lnTo>
                  <a:pt x="85343" y="24383"/>
                </a:lnTo>
                <a:lnTo>
                  <a:pt x="83819" y="67055"/>
                </a:lnTo>
                <a:lnTo>
                  <a:pt x="62483" y="70103"/>
                </a:lnTo>
                <a:lnTo>
                  <a:pt x="62483" y="85343"/>
                </a:lnTo>
                <a:lnTo>
                  <a:pt x="85343" y="85343"/>
                </a:lnTo>
                <a:close/>
              </a:path>
              <a:path w="187960" h="169545">
                <a:moveTo>
                  <a:pt x="128015" y="85343"/>
                </a:moveTo>
                <a:lnTo>
                  <a:pt x="128015" y="70103"/>
                </a:lnTo>
                <a:lnTo>
                  <a:pt x="105155" y="67055"/>
                </a:lnTo>
                <a:lnTo>
                  <a:pt x="105155" y="24383"/>
                </a:lnTo>
                <a:lnTo>
                  <a:pt x="103631" y="19811"/>
                </a:lnTo>
                <a:lnTo>
                  <a:pt x="103631" y="85343"/>
                </a:lnTo>
                <a:lnTo>
                  <a:pt x="108203" y="85343"/>
                </a:lnTo>
                <a:lnTo>
                  <a:pt x="108203" y="169163"/>
                </a:lnTo>
                <a:lnTo>
                  <a:pt x="126491" y="169163"/>
                </a:lnTo>
                <a:lnTo>
                  <a:pt x="126491" y="85343"/>
                </a:lnTo>
                <a:lnTo>
                  <a:pt x="128015" y="85343"/>
                </a:lnTo>
                <a:close/>
              </a:path>
              <a:path w="187960" h="169545">
                <a:moveTo>
                  <a:pt x="156971" y="169163"/>
                </a:moveTo>
                <a:lnTo>
                  <a:pt x="156971" y="147827"/>
                </a:lnTo>
                <a:lnTo>
                  <a:pt x="126491" y="147827"/>
                </a:lnTo>
                <a:lnTo>
                  <a:pt x="126491" y="169163"/>
                </a:lnTo>
                <a:lnTo>
                  <a:pt x="156971" y="169163"/>
                </a:lnTo>
                <a:close/>
              </a:path>
              <a:path w="187960" h="169545">
                <a:moveTo>
                  <a:pt x="167639" y="169163"/>
                </a:moveTo>
                <a:lnTo>
                  <a:pt x="167639" y="71627"/>
                </a:lnTo>
                <a:lnTo>
                  <a:pt x="146303" y="70103"/>
                </a:lnTo>
                <a:lnTo>
                  <a:pt x="141731" y="25907"/>
                </a:lnTo>
                <a:lnTo>
                  <a:pt x="140207" y="21335"/>
                </a:lnTo>
                <a:lnTo>
                  <a:pt x="140207" y="85343"/>
                </a:lnTo>
                <a:lnTo>
                  <a:pt x="156971" y="85343"/>
                </a:lnTo>
                <a:lnTo>
                  <a:pt x="156971" y="169163"/>
                </a:lnTo>
                <a:lnTo>
                  <a:pt x="167639" y="169163"/>
                </a:lnTo>
                <a:close/>
              </a:path>
              <a:path w="187960" h="169545">
                <a:moveTo>
                  <a:pt x="187451" y="76199"/>
                </a:moveTo>
                <a:lnTo>
                  <a:pt x="170687" y="18287"/>
                </a:lnTo>
                <a:lnTo>
                  <a:pt x="170687" y="169163"/>
                </a:lnTo>
                <a:lnTo>
                  <a:pt x="173735" y="169163"/>
                </a:lnTo>
                <a:lnTo>
                  <a:pt x="173735" y="74675"/>
                </a:lnTo>
                <a:lnTo>
                  <a:pt x="187451" y="76199"/>
                </a:lnTo>
                <a:close/>
              </a:path>
              <a:path w="187960" h="169545">
                <a:moveTo>
                  <a:pt x="179831" y="169163"/>
                </a:moveTo>
                <a:lnTo>
                  <a:pt x="179831" y="155447"/>
                </a:lnTo>
                <a:lnTo>
                  <a:pt x="173735" y="155447"/>
                </a:lnTo>
                <a:lnTo>
                  <a:pt x="173735" y="169163"/>
                </a:lnTo>
                <a:lnTo>
                  <a:pt x="179831" y="1691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472076" y="4293745"/>
            <a:ext cx="1666387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Sales Operations</a:t>
            </a:r>
            <a:r>
              <a:rPr sz="995" i="1" spc="-69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2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6332371" y="4325256"/>
            <a:ext cx="158306" cy="154519"/>
          </a:xfrm>
          <a:custGeom>
            <a:avLst/>
            <a:gdLst/>
            <a:ahLst/>
            <a:cxnLst/>
            <a:rect l="l" t="t" r="r" b="b"/>
            <a:pathLst>
              <a:path w="132714" h="129539">
                <a:moveTo>
                  <a:pt x="16763" y="80771"/>
                </a:moveTo>
                <a:lnTo>
                  <a:pt x="16763" y="48767"/>
                </a:lnTo>
                <a:lnTo>
                  <a:pt x="15239" y="50291"/>
                </a:lnTo>
                <a:lnTo>
                  <a:pt x="15239" y="53339"/>
                </a:lnTo>
                <a:lnTo>
                  <a:pt x="1523" y="57911"/>
                </a:lnTo>
                <a:lnTo>
                  <a:pt x="0" y="64007"/>
                </a:lnTo>
                <a:lnTo>
                  <a:pt x="0" y="70103"/>
                </a:lnTo>
                <a:lnTo>
                  <a:pt x="1523" y="77723"/>
                </a:lnTo>
                <a:lnTo>
                  <a:pt x="16763" y="80771"/>
                </a:lnTo>
                <a:close/>
              </a:path>
              <a:path w="132714" h="129539">
                <a:moveTo>
                  <a:pt x="96011" y="6095"/>
                </a:moveTo>
                <a:lnTo>
                  <a:pt x="89915" y="3047"/>
                </a:lnTo>
                <a:lnTo>
                  <a:pt x="77723" y="0"/>
                </a:lnTo>
                <a:lnTo>
                  <a:pt x="70103" y="12191"/>
                </a:lnTo>
                <a:lnTo>
                  <a:pt x="62483" y="12191"/>
                </a:lnTo>
                <a:lnTo>
                  <a:pt x="53339" y="0"/>
                </a:lnTo>
                <a:lnTo>
                  <a:pt x="50291" y="1523"/>
                </a:lnTo>
                <a:lnTo>
                  <a:pt x="47243" y="1523"/>
                </a:lnTo>
                <a:lnTo>
                  <a:pt x="41147" y="4571"/>
                </a:lnTo>
                <a:lnTo>
                  <a:pt x="39623" y="4571"/>
                </a:lnTo>
                <a:lnTo>
                  <a:pt x="36575" y="6095"/>
                </a:lnTo>
                <a:lnTo>
                  <a:pt x="36575" y="21335"/>
                </a:lnTo>
                <a:lnTo>
                  <a:pt x="30479" y="25907"/>
                </a:lnTo>
                <a:lnTo>
                  <a:pt x="16763" y="21335"/>
                </a:lnTo>
                <a:lnTo>
                  <a:pt x="12191" y="25907"/>
                </a:lnTo>
                <a:lnTo>
                  <a:pt x="9143" y="32003"/>
                </a:lnTo>
                <a:lnTo>
                  <a:pt x="6095" y="36575"/>
                </a:lnTo>
                <a:lnTo>
                  <a:pt x="16763" y="48767"/>
                </a:lnTo>
                <a:lnTo>
                  <a:pt x="16763" y="108203"/>
                </a:lnTo>
                <a:lnTo>
                  <a:pt x="19811" y="111251"/>
                </a:lnTo>
                <a:lnTo>
                  <a:pt x="23741" y="109942"/>
                </a:lnTo>
                <a:lnTo>
                  <a:pt x="23741" y="62102"/>
                </a:lnTo>
                <a:lnTo>
                  <a:pt x="28003" y="46100"/>
                </a:lnTo>
                <a:lnTo>
                  <a:pt x="37695" y="32956"/>
                </a:lnTo>
                <a:lnTo>
                  <a:pt x="51815" y="24383"/>
                </a:lnTo>
                <a:lnTo>
                  <a:pt x="64007" y="21335"/>
                </a:lnTo>
                <a:lnTo>
                  <a:pt x="68579" y="22859"/>
                </a:lnTo>
                <a:lnTo>
                  <a:pt x="80748" y="24788"/>
                </a:lnTo>
                <a:lnTo>
                  <a:pt x="91630" y="30289"/>
                </a:lnTo>
                <a:lnTo>
                  <a:pt x="94487" y="33070"/>
                </a:lnTo>
                <a:lnTo>
                  <a:pt x="94487" y="21335"/>
                </a:lnTo>
                <a:lnTo>
                  <a:pt x="96011" y="6095"/>
                </a:lnTo>
                <a:close/>
              </a:path>
              <a:path w="132714" h="129539">
                <a:moveTo>
                  <a:pt x="16763" y="108203"/>
                </a:moveTo>
                <a:lnTo>
                  <a:pt x="16763" y="83819"/>
                </a:lnTo>
                <a:lnTo>
                  <a:pt x="9143" y="96011"/>
                </a:lnTo>
                <a:lnTo>
                  <a:pt x="12191" y="102107"/>
                </a:lnTo>
                <a:lnTo>
                  <a:pt x="15239" y="106679"/>
                </a:lnTo>
                <a:lnTo>
                  <a:pt x="16763" y="108203"/>
                </a:lnTo>
                <a:close/>
              </a:path>
              <a:path w="132714" h="129539">
                <a:moveTo>
                  <a:pt x="109061" y="105949"/>
                </a:moveTo>
                <a:lnTo>
                  <a:pt x="109061" y="67436"/>
                </a:lnTo>
                <a:lnTo>
                  <a:pt x="105155" y="83438"/>
                </a:lnTo>
                <a:lnTo>
                  <a:pt x="95535" y="96583"/>
                </a:lnTo>
                <a:lnTo>
                  <a:pt x="80771" y="105155"/>
                </a:lnTo>
                <a:lnTo>
                  <a:pt x="63626" y="107537"/>
                </a:lnTo>
                <a:lnTo>
                  <a:pt x="47624" y="103631"/>
                </a:lnTo>
                <a:lnTo>
                  <a:pt x="34480" y="94011"/>
                </a:lnTo>
                <a:lnTo>
                  <a:pt x="25907" y="79247"/>
                </a:lnTo>
                <a:lnTo>
                  <a:pt x="23741" y="62102"/>
                </a:lnTo>
                <a:lnTo>
                  <a:pt x="23741" y="109942"/>
                </a:lnTo>
                <a:lnTo>
                  <a:pt x="33527" y="106679"/>
                </a:lnTo>
                <a:lnTo>
                  <a:pt x="35051" y="108203"/>
                </a:lnTo>
                <a:lnTo>
                  <a:pt x="36575" y="108203"/>
                </a:lnTo>
                <a:lnTo>
                  <a:pt x="38099" y="109727"/>
                </a:lnTo>
                <a:lnTo>
                  <a:pt x="38099" y="124967"/>
                </a:lnTo>
                <a:lnTo>
                  <a:pt x="42671" y="126491"/>
                </a:lnTo>
                <a:lnTo>
                  <a:pt x="48767" y="129539"/>
                </a:lnTo>
                <a:lnTo>
                  <a:pt x="54863" y="129539"/>
                </a:lnTo>
                <a:lnTo>
                  <a:pt x="64007" y="117347"/>
                </a:lnTo>
                <a:lnTo>
                  <a:pt x="70103" y="117347"/>
                </a:lnTo>
                <a:lnTo>
                  <a:pt x="79247" y="129539"/>
                </a:lnTo>
                <a:lnTo>
                  <a:pt x="82295" y="129539"/>
                </a:lnTo>
                <a:lnTo>
                  <a:pt x="85343" y="128015"/>
                </a:lnTo>
                <a:lnTo>
                  <a:pt x="88391" y="128015"/>
                </a:lnTo>
                <a:lnTo>
                  <a:pt x="94487" y="124967"/>
                </a:lnTo>
                <a:lnTo>
                  <a:pt x="96011" y="123443"/>
                </a:lnTo>
                <a:lnTo>
                  <a:pt x="96011" y="108203"/>
                </a:lnTo>
                <a:lnTo>
                  <a:pt x="102107" y="103631"/>
                </a:lnTo>
                <a:lnTo>
                  <a:pt x="109061" y="105949"/>
                </a:lnTo>
                <a:close/>
              </a:path>
              <a:path w="132714" h="129539">
                <a:moveTo>
                  <a:pt x="124967" y="33527"/>
                </a:moveTo>
                <a:lnTo>
                  <a:pt x="121919" y="27431"/>
                </a:lnTo>
                <a:lnTo>
                  <a:pt x="112775" y="18287"/>
                </a:lnTo>
                <a:lnTo>
                  <a:pt x="99059" y="24383"/>
                </a:lnTo>
                <a:lnTo>
                  <a:pt x="97535" y="22859"/>
                </a:lnTo>
                <a:lnTo>
                  <a:pt x="97535" y="21335"/>
                </a:lnTo>
                <a:lnTo>
                  <a:pt x="94487" y="21335"/>
                </a:lnTo>
                <a:lnTo>
                  <a:pt x="94487" y="33070"/>
                </a:lnTo>
                <a:lnTo>
                  <a:pt x="100512" y="38933"/>
                </a:lnTo>
                <a:lnTo>
                  <a:pt x="106679" y="50291"/>
                </a:lnTo>
                <a:lnTo>
                  <a:pt x="109061" y="67436"/>
                </a:lnTo>
                <a:lnTo>
                  <a:pt x="109061" y="105949"/>
                </a:lnTo>
                <a:lnTo>
                  <a:pt x="115823" y="108203"/>
                </a:lnTo>
                <a:lnTo>
                  <a:pt x="115823" y="45719"/>
                </a:lnTo>
                <a:lnTo>
                  <a:pt x="124967" y="33527"/>
                </a:lnTo>
                <a:close/>
              </a:path>
              <a:path w="132714" h="129539">
                <a:moveTo>
                  <a:pt x="132587" y="71627"/>
                </a:moveTo>
                <a:lnTo>
                  <a:pt x="132587" y="59435"/>
                </a:lnTo>
                <a:lnTo>
                  <a:pt x="131063" y="53339"/>
                </a:lnTo>
                <a:lnTo>
                  <a:pt x="117347" y="48767"/>
                </a:lnTo>
                <a:lnTo>
                  <a:pt x="115823" y="47243"/>
                </a:lnTo>
                <a:lnTo>
                  <a:pt x="115823" y="80771"/>
                </a:lnTo>
                <a:lnTo>
                  <a:pt x="117347" y="79247"/>
                </a:lnTo>
                <a:lnTo>
                  <a:pt x="117347" y="76199"/>
                </a:lnTo>
                <a:lnTo>
                  <a:pt x="132587" y="71627"/>
                </a:lnTo>
                <a:close/>
              </a:path>
              <a:path w="132714" h="129539">
                <a:moveTo>
                  <a:pt x="126491" y="92963"/>
                </a:moveTo>
                <a:lnTo>
                  <a:pt x="115823" y="80771"/>
                </a:lnTo>
                <a:lnTo>
                  <a:pt x="115823" y="108203"/>
                </a:lnTo>
                <a:lnTo>
                  <a:pt x="120395" y="103631"/>
                </a:lnTo>
                <a:lnTo>
                  <a:pt x="123443" y="99059"/>
                </a:lnTo>
                <a:lnTo>
                  <a:pt x="126491" y="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452352" y="4452508"/>
            <a:ext cx="69684" cy="67412"/>
          </a:xfrm>
          <a:custGeom>
            <a:avLst/>
            <a:gdLst/>
            <a:ahLst/>
            <a:cxnLst/>
            <a:rect l="l" t="t" r="r" b="b"/>
            <a:pathLst>
              <a:path w="58420" h="56514">
                <a:moveTo>
                  <a:pt x="7619" y="35051"/>
                </a:moveTo>
                <a:lnTo>
                  <a:pt x="7619" y="22859"/>
                </a:lnTo>
                <a:lnTo>
                  <a:pt x="6095" y="22859"/>
                </a:lnTo>
                <a:lnTo>
                  <a:pt x="0" y="25907"/>
                </a:lnTo>
                <a:lnTo>
                  <a:pt x="0" y="30479"/>
                </a:lnTo>
                <a:lnTo>
                  <a:pt x="1523" y="33527"/>
                </a:lnTo>
                <a:lnTo>
                  <a:pt x="7619" y="35051"/>
                </a:lnTo>
                <a:close/>
              </a:path>
              <a:path w="58420" h="56514">
                <a:moveTo>
                  <a:pt x="54863" y="15239"/>
                </a:moveTo>
                <a:lnTo>
                  <a:pt x="53339" y="12191"/>
                </a:lnTo>
                <a:lnTo>
                  <a:pt x="51815" y="10667"/>
                </a:lnTo>
                <a:lnTo>
                  <a:pt x="50291" y="7619"/>
                </a:lnTo>
                <a:lnTo>
                  <a:pt x="44195" y="10667"/>
                </a:lnTo>
                <a:lnTo>
                  <a:pt x="42671" y="9143"/>
                </a:lnTo>
                <a:lnTo>
                  <a:pt x="41147" y="9143"/>
                </a:lnTo>
                <a:lnTo>
                  <a:pt x="41147" y="3047"/>
                </a:lnTo>
                <a:lnTo>
                  <a:pt x="39623" y="1523"/>
                </a:lnTo>
                <a:lnTo>
                  <a:pt x="36575" y="0"/>
                </a:lnTo>
                <a:lnTo>
                  <a:pt x="35051" y="0"/>
                </a:lnTo>
                <a:lnTo>
                  <a:pt x="30479" y="4571"/>
                </a:lnTo>
                <a:lnTo>
                  <a:pt x="27431" y="4571"/>
                </a:lnTo>
                <a:lnTo>
                  <a:pt x="22859" y="0"/>
                </a:lnTo>
                <a:lnTo>
                  <a:pt x="21335" y="0"/>
                </a:lnTo>
                <a:lnTo>
                  <a:pt x="19811" y="1523"/>
                </a:lnTo>
                <a:lnTo>
                  <a:pt x="16763" y="1523"/>
                </a:lnTo>
                <a:lnTo>
                  <a:pt x="16763" y="9143"/>
                </a:lnTo>
                <a:lnTo>
                  <a:pt x="13715" y="10667"/>
                </a:lnTo>
                <a:lnTo>
                  <a:pt x="7619" y="9143"/>
                </a:lnTo>
                <a:lnTo>
                  <a:pt x="6095" y="10667"/>
                </a:lnTo>
                <a:lnTo>
                  <a:pt x="4571" y="13715"/>
                </a:lnTo>
                <a:lnTo>
                  <a:pt x="3047" y="15239"/>
                </a:lnTo>
                <a:lnTo>
                  <a:pt x="7619" y="21335"/>
                </a:lnTo>
                <a:lnTo>
                  <a:pt x="7619" y="47243"/>
                </a:lnTo>
                <a:lnTo>
                  <a:pt x="9143" y="48767"/>
                </a:lnTo>
                <a:lnTo>
                  <a:pt x="10644" y="48017"/>
                </a:lnTo>
                <a:lnTo>
                  <a:pt x="10644" y="27170"/>
                </a:lnTo>
                <a:lnTo>
                  <a:pt x="12382" y="20002"/>
                </a:lnTo>
                <a:lnTo>
                  <a:pt x="16692" y="14263"/>
                </a:lnTo>
                <a:lnTo>
                  <a:pt x="22859" y="10667"/>
                </a:lnTo>
                <a:lnTo>
                  <a:pt x="25907" y="9143"/>
                </a:lnTo>
                <a:lnTo>
                  <a:pt x="30479" y="9143"/>
                </a:lnTo>
                <a:lnTo>
                  <a:pt x="38099" y="10667"/>
                </a:lnTo>
                <a:lnTo>
                  <a:pt x="44195" y="15239"/>
                </a:lnTo>
                <a:lnTo>
                  <a:pt x="47243" y="21335"/>
                </a:lnTo>
                <a:lnTo>
                  <a:pt x="48125" y="29217"/>
                </a:lnTo>
                <a:lnTo>
                  <a:pt x="48125" y="46702"/>
                </a:lnTo>
                <a:lnTo>
                  <a:pt x="50291" y="47243"/>
                </a:lnTo>
                <a:lnTo>
                  <a:pt x="50291" y="19811"/>
                </a:lnTo>
                <a:lnTo>
                  <a:pt x="54863" y="15239"/>
                </a:lnTo>
                <a:close/>
              </a:path>
              <a:path w="58420" h="56514">
                <a:moveTo>
                  <a:pt x="7619" y="47243"/>
                </a:moveTo>
                <a:lnTo>
                  <a:pt x="7619" y="36575"/>
                </a:lnTo>
                <a:lnTo>
                  <a:pt x="4571" y="41147"/>
                </a:lnTo>
                <a:lnTo>
                  <a:pt x="4571" y="44195"/>
                </a:lnTo>
                <a:lnTo>
                  <a:pt x="7619" y="47243"/>
                </a:lnTo>
                <a:close/>
              </a:path>
              <a:path w="58420" h="56514">
                <a:moveTo>
                  <a:pt x="48125" y="46702"/>
                </a:moveTo>
                <a:lnTo>
                  <a:pt x="48125" y="29217"/>
                </a:lnTo>
                <a:lnTo>
                  <a:pt x="46291" y="36385"/>
                </a:lnTo>
                <a:lnTo>
                  <a:pt x="41886" y="42124"/>
                </a:lnTo>
                <a:lnTo>
                  <a:pt x="35051" y="45719"/>
                </a:lnTo>
                <a:lnTo>
                  <a:pt x="28051" y="46624"/>
                </a:lnTo>
                <a:lnTo>
                  <a:pt x="21335" y="44957"/>
                </a:lnTo>
                <a:lnTo>
                  <a:pt x="15763" y="41005"/>
                </a:lnTo>
                <a:lnTo>
                  <a:pt x="12191" y="35051"/>
                </a:lnTo>
                <a:lnTo>
                  <a:pt x="10644" y="27170"/>
                </a:lnTo>
                <a:lnTo>
                  <a:pt x="10644" y="48017"/>
                </a:lnTo>
                <a:lnTo>
                  <a:pt x="15239" y="45719"/>
                </a:lnTo>
                <a:lnTo>
                  <a:pt x="15239" y="47243"/>
                </a:lnTo>
                <a:lnTo>
                  <a:pt x="16763" y="47243"/>
                </a:lnTo>
                <a:lnTo>
                  <a:pt x="16763" y="53339"/>
                </a:lnTo>
                <a:lnTo>
                  <a:pt x="18287" y="54863"/>
                </a:lnTo>
                <a:lnTo>
                  <a:pt x="21335" y="56387"/>
                </a:lnTo>
                <a:lnTo>
                  <a:pt x="24383" y="56387"/>
                </a:lnTo>
                <a:lnTo>
                  <a:pt x="27431" y="51815"/>
                </a:lnTo>
                <a:lnTo>
                  <a:pt x="30479" y="51815"/>
                </a:lnTo>
                <a:lnTo>
                  <a:pt x="35051" y="56387"/>
                </a:lnTo>
                <a:lnTo>
                  <a:pt x="38099" y="56387"/>
                </a:lnTo>
                <a:lnTo>
                  <a:pt x="38099" y="54863"/>
                </a:lnTo>
                <a:lnTo>
                  <a:pt x="41147" y="54863"/>
                </a:lnTo>
                <a:lnTo>
                  <a:pt x="42671" y="53339"/>
                </a:lnTo>
                <a:lnTo>
                  <a:pt x="42671" y="47243"/>
                </a:lnTo>
                <a:lnTo>
                  <a:pt x="44195" y="45719"/>
                </a:lnTo>
                <a:lnTo>
                  <a:pt x="48125" y="46702"/>
                </a:lnTo>
                <a:close/>
              </a:path>
              <a:path w="58420" h="56514">
                <a:moveTo>
                  <a:pt x="57911" y="30479"/>
                </a:moveTo>
                <a:lnTo>
                  <a:pt x="57911" y="22859"/>
                </a:lnTo>
                <a:lnTo>
                  <a:pt x="51815" y="21335"/>
                </a:lnTo>
                <a:lnTo>
                  <a:pt x="50291" y="19811"/>
                </a:lnTo>
                <a:lnTo>
                  <a:pt x="50291" y="35051"/>
                </a:lnTo>
                <a:lnTo>
                  <a:pt x="51815" y="35051"/>
                </a:lnTo>
                <a:lnTo>
                  <a:pt x="51815" y="33527"/>
                </a:lnTo>
                <a:lnTo>
                  <a:pt x="57911" y="30479"/>
                </a:lnTo>
                <a:close/>
              </a:path>
              <a:path w="58420" h="56514">
                <a:moveTo>
                  <a:pt x="54863" y="41147"/>
                </a:moveTo>
                <a:lnTo>
                  <a:pt x="50291" y="35051"/>
                </a:lnTo>
                <a:lnTo>
                  <a:pt x="50291" y="47243"/>
                </a:lnTo>
                <a:lnTo>
                  <a:pt x="53339" y="45719"/>
                </a:lnTo>
                <a:lnTo>
                  <a:pt x="53339" y="42671"/>
                </a:lnTo>
                <a:lnTo>
                  <a:pt x="54863" y="411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503252" y="4379792"/>
            <a:ext cx="84077" cy="81804"/>
          </a:xfrm>
          <a:custGeom>
            <a:avLst/>
            <a:gdLst/>
            <a:ahLst/>
            <a:cxnLst/>
            <a:rect l="l" t="t" r="r" b="b"/>
            <a:pathLst>
              <a:path w="70485" h="68579">
                <a:moveTo>
                  <a:pt x="7619" y="42671"/>
                </a:moveTo>
                <a:lnTo>
                  <a:pt x="7619" y="28955"/>
                </a:lnTo>
                <a:lnTo>
                  <a:pt x="0" y="30479"/>
                </a:lnTo>
                <a:lnTo>
                  <a:pt x="0" y="41147"/>
                </a:lnTo>
                <a:lnTo>
                  <a:pt x="7619" y="42671"/>
                </a:lnTo>
                <a:close/>
              </a:path>
              <a:path w="70485" h="68579">
                <a:moveTo>
                  <a:pt x="65531" y="16763"/>
                </a:moveTo>
                <a:lnTo>
                  <a:pt x="64007" y="15239"/>
                </a:lnTo>
                <a:lnTo>
                  <a:pt x="62483" y="12191"/>
                </a:lnTo>
                <a:lnTo>
                  <a:pt x="59435" y="9143"/>
                </a:lnTo>
                <a:lnTo>
                  <a:pt x="53339" y="12191"/>
                </a:lnTo>
                <a:lnTo>
                  <a:pt x="51815" y="12191"/>
                </a:lnTo>
                <a:lnTo>
                  <a:pt x="51815" y="10667"/>
                </a:lnTo>
                <a:lnTo>
                  <a:pt x="50291" y="10667"/>
                </a:lnTo>
                <a:lnTo>
                  <a:pt x="50291" y="3047"/>
                </a:lnTo>
                <a:lnTo>
                  <a:pt x="44195" y="0"/>
                </a:lnTo>
                <a:lnTo>
                  <a:pt x="41147" y="0"/>
                </a:lnTo>
                <a:lnTo>
                  <a:pt x="36575" y="6095"/>
                </a:lnTo>
                <a:lnTo>
                  <a:pt x="32003" y="6095"/>
                </a:lnTo>
                <a:lnTo>
                  <a:pt x="27431" y="0"/>
                </a:lnTo>
                <a:lnTo>
                  <a:pt x="24383" y="0"/>
                </a:lnTo>
                <a:lnTo>
                  <a:pt x="22859" y="1523"/>
                </a:lnTo>
                <a:lnTo>
                  <a:pt x="19811" y="1523"/>
                </a:lnTo>
                <a:lnTo>
                  <a:pt x="18287" y="3047"/>
                </a:lnTo>
                <a:lnTo>
                  <a:pt x="18287" y="10667"/>
                </a:lnTo>
                <a:lnTo>
                  <a:pt x="15239" y="13715"/>
                </a:lnTo>
                <a:lnTo>
                  <a:pt x="7619" y="10667"/>
                </a:lnTo>
                <a:lnTo>
                  <a:pt x="3047" y="19811"/>
                </a:lnTo>
                <a:lnTo>
                  <a:pt x="7619" y="25907"/>
                </a:lnTo>
                <a:lnTo>
                  <a:pt x="7619" y="44195"/>
                </a:lnTo>
                <a:lnTo>
                  <a:pt x="9143" y="44195"/>
                </a:lnTo>
                <a:lnTo>
                  <a:pt x="9143" y="59435"/>
                </a:lnTo>
                <a:lnTo>
                  <a:pt x="12215" y="58207"/>
                </a:lnTo>
                <a:lnTo>
                  <a:pt x="12215" y="33408"/>
                </a:lnTo>
                <a:lnTo>
                  <a:pt x="14287" y="24574"/>
                </a:lnTo>
                <a:lnTo>
                  <a:pt x="19502" y="17168"/>
                </a:lnTo>
                <a:lnTo>
                  <a:pt x="27431" y="12191"/>
                </a:lnTo>
                <a:lnTo>
                  <a:pt x="30479" y="12191"/>
                </a:lnTo>
                <a:lnTo>
                  <a:pt x="33527" y="10667"/>
                </a:lnTo>
                <a:lnTo>
                  <a:pt x="36575" y="10667"/>
                </a:lnTo>
                <a:lnTo>
                  <a:pt x="43100" y="12644"/>
                </a:lnTo>
                <a:lnTo>
                  <a:pt x="48767" y="16192"/>
                </a:lnTo>
                <a:lnTo>
                  <a:pt x="53292" y="21169"/>
                </a:lnTo>
                <a:lnTo>
                  <a:pt x="56387" y="27431"/>
                </a:lnTo>
                <a:lnTo>
                  <a:pt x="57888" y="35813"/>
                </a:lnTo>
                <a:lnTo>
                  <a:pt x="57888" y="56683"/>
                </a:lnTo>
                <a:lnTo>
                  <a:pt x="60959" y="57911"/>
                </a:lnTo>
                <a:lnTo>
                  <a:pt x="60959" y="24383"/>
                </a:lnTo>
                <a:lnTo>
                  <a:pt x="65531" y="16763"/>
                </a:lnTo>
                <a:close/>
              </a:path>
              <a:path w="70485" h="68579">
                <a:moveTo>
                  <a:pt x="9143" y="59435"/>
                </a:moveTo>
                <a:lnTo>
                  <a:pt x="9143" y="44195"/>
                </a:lnTo>
                <a:lnTo>
                  <a:pt x="3047" y="51815"/>
                </a:lnTo>
                <a:lnTo>
                  <a:pt x="7619" y="56387"/>
                </a:lnTo>
                <a:lnTo>
                  <a:pt x="9143" y="59435"/>
                </a:lnTo>
                <a:close/>
              </a:path>
              <a:path w="70485" h="68579">
                <a:moveTo>
                  <a:pt x="57888" y="56683"/>
                </a:moveTo>
                <a:lnTo>
                  <a:pt x="57888" y="35813"/>
                </a:lnTo>
                <a:lnTo>
                  <a:pt x="55816" y="44195"/>
                </a:lnTo>
                <a:lnTo>
                  <a:pt x="50601" y="51434"/>
                </a:lnTo>
                <a:lnTo>
                  <a:pt x="42671" y="56387"/>
                </a:lnTo>
                <a:lnTo>
                  <a:pt x="33432" y="57673"/>
                </a:lnTo>
                <a:lnTo>
                  <a:pt x="24764" y="55244"/>
                </a:lnTo>
                <a:lnTo>
                  <a:pt x="17811" y="49958"/>
                </a:lnTo>
                <a:lnTo>
                  <a:pt x="13715" y="42671"/>
                </a:lnTo>
                <a:lnTo>
                  <a:pt x="12215" y="33408"/>
                </a:lnTo>
                <a:lnTo>
                  <a:pt x="12215" y="58207"/>
                </a:lnTo>
                <a:lnTo>
                  <a:pt x="16763" y="56387"/>
                </a:lnTo>
                <a:lnTo>
                  <a:pt x="18287" y="56387"/>
                </a:lnTo>
                <a:lnTo>
                  <a:pt x="18287" y="57911"/>
                </a:lnTo>
                <a:lnTo>
                  <a:pt x="19811" y="57911"/>
                </a:lnTo>
                <a:lnTo>
                  <a:pt x="19811" y="65531"/>
                </a:lnTo>
                <a:lnTo>
                  <a:pt x="25907" y="68579"/>
                </a:lnTo>
                <a:lnTo>
                  <a:pt x="28955" y="68579"/>
                </a:lnTo>
                <a:lnTo>
                  <a:pt x="33527" y="62483"/>
                </a:lnTo>
                <a:lnTo>
                  <a:pt x="36575" y="62483"/>
                </a:lnTo>
                <a:lnTo>
                  <a:pt x="42671" y="68579"/>
                </a:lnTo>
                <a:lnTo>
                  <a:pt x="45719" y="68579"/>
                </a:lnTo>
                <a:lnTo>
                  <a:pt x="47243" y="67055"/>
                </a:lnTo>
                <a:lnTo>
                  <a:pt x="50291" y="67055"/>
                </a:lnTo>
                <a:lnTo>
                  <a:pt x="50291" y="57911"/>
                </a:lnTo>
                <a:lnTo>
                  <a:pt x="53339" y="54863"/>
                </a:lnTo>
                <a:lnTo>
                  <a:pt x="57888" y="56683"/>
                </a:lnTo>
                <a:close/>
              </a:path>
              <a:path w="70485" h="68579">
                <a:moveTo>
                  <a:pt x="51815" y="65531"/>
                </a:moveTo>
                <a:lnTo>
                  <a:pt x="50291" y="57911"/>
                </a:lnTo>
                <a:lnTo>
                  <a:pt x="50291" y="67055"/>
                </a:lnTo>
                <a:lnTo>
                  <a:pt x="51815" y="65531"/>
                </a:lnTo>
                <a:close/>
              </a:path>
              <a:path w="70485" h="68579">
                <a:moveTo>
                  <a:pt x="67055" y="48767"/>
                </a:moveTo>
                <a:lnTo>
                  <a:pt x="62483" y="42671"/>
                </a:lnTo>
                <a:lnTo>
                  <a:pt x="62483" y="24383"/>
                </a:lnTo>
                <a:lnTo>
                  <a:pt x="60959" y="24383"/>
                </a:lnTo>
                <a:lnTo>
                  <a:pt x="60959" y="57911"/>
                </a:lnTo>
                <a:lnTo>
                  <a:pt x="64007" y="54863"/>
                </a:lnTo>
                <a:lnTo>
                  <a:pt x="67055" y="48767"/>
                </a:lnTo>
                <a:close/>
              </a:path>
              <a:path w="70485" h="68579">
                <a:moveTo>
                  <a:pt x="70103" y="38099"/>
                </a:moveTo>
                <a:lnTo>
                  <a:pt x="70103" y="27431"/>
                </a:lnTo>
                <a:lnTo>
                  <a:pt x="62483" y="25907"/>
                </a:lnTo>
                <a:lnTo>
                  <a:pt x="62483" y="41147"/>
                </a:lnTo>
                <a:lnTo>
                  <a:pt x="70103" y="380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472076" y="4514799"/>
            <a:ext cx="1218734" cy="422411"/>
          </a:xfrm>
          <a:prstGeom prst="rect">
            <a:avLst/>
          </a:prstGeom>
        </p:spPr>
        <p:txBody>
          <a:bodyPr vert="horz" wrap="square" lIns="0" tIns="64249" rIns="0" bIns="0" rtlCol="0">
            <a:spAutoFit/>
          </a:bodyPr>
          <a:lstStyle/>
          <a:p>
            <a:pPr marL="10983">
              <a:spcBef>
                <a:spcPts val="506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Marketing</a:t>
            </a:r>
            <a:r>
              <a:rPr sz="995" i="1" spc="-82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4)</a:t>
            </a:r>
            <a:endParaRPr sz="995" dirty="0">
              <a:latin typeface="+mn-lt"/>
              <a:cs typeface="Arial"/>
            </a:endParaRPr>
          </a:p>
          <a:p>
            <a:pPr marL="126853">
              <a:spcBef>
                <a:spcPts val="424"/>
              </a:spcBef>
            </a:pPr>
            <a:r>
              <a:rPr sz="995" b="1" spc="22" dirty="0">
                <a:solidFill>
                  <a:schemeClr val="bg1"/>
                </a:solidFill>
                <a:latin typeface="+mn-lt"/>
                <a:cs typeface="Arial"/>
              </a:rPr>
              <a:t>… </a:t>
            </a:r>
            <a:r>
              <a:rPr sz="995" b="1" spc="9" dirty="0">
                <a:solidFill>
                  <a:schemeClr val="bg1"/>
                </a:solidFill>
                <a:latin typeface="+mn-lt"/>
                <a:cs typeface="Arial"/>
              </a:rPr>
              <a:t>and</a:t>
            </a:r>
            <a:r>
              <a:rPr sz="995" b="1" spc="-99" dirty="0">
                <a:solidFill>
                  <a:schemeClr val="bg1"/>
                </a:solidFill>
                <a:latin typeface="+mn-lt"/>
                <a:cs typeface="Arial"/>
              </a:rPr>
              <a:t> </a:t>
            </a:r>
            <a:r>
              <a:rPr sz="995" b="1" spc="4" dirty="0">
                <a:solidFill>
                  <a:schemeClr val="bg1"/>
                </a:solidFill>
                <a:latin typeface="+mn-lt"/>
                <a:cs typeface="Arial"/>
              </a:rPr>
              <a:t>more</a:t>
            </a:r>
            <a:endParaRPr sz="995" dirty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6370547" y="4632477"/>
            <a:ext cx="167396" cy="87864"/>
          </a:xfrm>
          <a:custGeom>
            <a:avLst/>
            <a:gdLst/>
            <a:ahLst/>
            <a:cxnLst/>
            <a:rect l="l" t="t" r="r" b="b"/>
            <a:pathLst>
              <a:path w="140335" h="73660">
                <a:moveTo>
                  <a:pt x="38099" y="47243"/>
                </a:moveTo>
                <a:lnTo>
                  <a:pt x="38099" y="32003"/>
                </a:lnTo>
                <a:lnTo>
                  <a:pt x="36575" y="32003"/>
                </a:lnTo>
                <a:lnTo>
                  <a:pt x="32003" y="36575"/>
                </a:lnTo>
                <a:lnTo>
                  <a:pt x="30479" y="36575"/>
                </a:lnTo>
                <a:lnTo>
                  <a:pt x="28955" y="38099"/>
                </a:lnTo>
                <a:lnTo>
                  <a:pt x="28955" y="39623"/>
                </a:lnTo>
                <a:lnTo>
                  <a:pt x="27431" y="39623"/>
                </a:lnTo>
                <a:lnTo>
                  <a:pt x="25907" y="41147"/>
                </a:lnTo>
                <a:lnTo>
                  <a:pt x="25907" y="42671"/>
                </a:lnTo>
                <a:lnTo>
                  <a:pt x="24383" y="42671"/>
                </a:lnTo>
                <a:lnTo>
                  <a:pt x="21335" y="45719"/>
                </a:lnTo>
                <a:lnTo>
                  <a:pt x="21335" y="47243"/>
                </a:lnTo>
                <a:lnTo>
                  <a:pt x="19811" y="47243"/>
                </a:lnTo>
                <a:lnTo>
                  <a:pt x="16763" y="50291"/>
                </a:lnTo>
                <a:lnTo>
                  <a:pt x="13715" y="51815"/>
                </a:lnTo>
                <a:lnTo>
                  <a:pt x="12191" y="54863"/>
                </a:lnTo>
                <a:lnTo>
                  <a:pt x="10667" y="54863"/>
                </a:lnTo>
                <a:lnTo>
                  <a:pt x="10667" y="56387"/>
                </a:lnTo>
                <a:lnTo>
                  <a:pt x="9143" y="56387"/>
                </a:lnTo>
                <a:lnTo>
                  <a:pt x="3047" y="62483"/>
                </a:lnTo>
                <a:lnTo>
                  <a:pt x="0" y="64007"/>
                </a:lnTo>
                <a:lnTo>
                  <a:pt x="0" y="70103"/>
                </a:lnTo>
                <a:lnTo>
                  <a:pt x="3047" y="73151"/>
                </a:lnTo>
                <a:lnTo>
                  <a:pt x="6095" y="73151"/>
                </a:lnTo>
                <a:lnTo>
                  <a:pt x="9143" y="71627"/>
                </a:lnTo>
                <a:lnTo>
                  <a:pt x="12191" y="68579"/>
                </a:lnTo>
                <a:lnTo>
                  <a:pt x="13715" y="68579"/>
                </a:lnTo>
                <a:lnTo>
                  <a:pt x="13715" y="67055"/>
                </a:lnTo>
                <a:lnTo>
                  <a:pt x="15239" y="65531"/>
                </a:lnTo>
                <a:lnTo>
                  <a:pt x="16763" y="65531"/>
                </a:lnTo>
                <a:lnTo>
                  <a:pt x="28955" y="53339"/>
                </a:lnTo>
                <a:lnTo>
                  <a:pt x="32003" y="51815"/>
                </a:lnTo>
                <a:lnTo>
                  <a:pt x="36575" y="47243"/>
                </a:lnTo>
                <a:lnTo>
                  <a:pt x="38099" y="47243"/>
                </a:lnTo>
                <a:close/>
              </a:path>
              <a:path w="140335" h="73660">
                <a:moveTo>
                  <a:pt x="105155" y="50291"/>
                </a:moveTo>
                <a:lnTo>
                  <a:pt x="105155" y="32003"/>
                </a:lnTo>
                <a:lnTo>
                  <a:pt x="103631" y="33527"/>
                </a:lnTo>
                <a:lnTo>
                  <a:pt x="89915" y="50291"/>
                </a:lnTo>
                <a:lnTo>
                  <a:pt x="88391" y="50291"/>
                </a:lnTo>
                <a:lnTo>
                  <a:pt x="80771" y="42671"/>
                </a:lnTo>
                <a:lnTo>
                  <a:pt x="76199" y="39623"/>
                </a:lnTo>
                <a:lnTo>
                  <a:pt x="76199" y="38099"/>
                </a:lnTo>
                <a:lnTo>
                  <a:pt x="74675" y="36575"/>
                </a:lnTo>
                <a:lnTo>
                  <a:pt x="73151" y="36575"/>
                </a:lnTo>
                <a:lnTo>
                  <a:pt x="68579" y="32003"/>
                </a:lnTo>
                <a:lnTo>
                  <a:pt x="67055" y="28955"/>
                </a:lnTo>
                <a:lnTo>
                  <a:pt x="64007" y="25907"/>
                </a:lnTo>
                <a:lnTo>
                  <a:pt x="62483" y="25907"/>
                </a:lnTo>
                <a:lnTo>
                  <a:pt x="57911" y="21335"/>
                </a:lnTo>
                <a:lnTo>
                  <a:pt x="56387" y="21335"/>
                </a:lnTo>
                <a:lnTo>
                  <a:pt x="56387" y="19811"/>
                </a:lnTo>
                <a:lnTo>
                  <a:pt x="53339" y="19811"/>
                </a:lnTo>
                <a:lnTo>
                  <a:pt x="53339" y="18287"/>
                </a:lnTo>
                <a:lnTo>
                  <a:pt x="50291" y="19811"/>
                </a:lnTo>
                <a:lnTo>
                  <a:pt x="48767" y="21335"/>
                </a:lnTo>
                <a:lnTo>
                  <a:pt x="47243" y="21335"/>
                </a:lnTo>
                <a:lnTo>
                  <a:pt x="45719" y="22859"/>
                </a:lnTo>
                <a:lnTo>
                  <a:pt x="45719" y="24383"/>
                </a:lnTo>
                <a:lnTo>
                  <a:pt x="42671" y="25907"/>
                </a:lnTo>
                <a:lnTo>
                  <a:pt x="38099" y="30479"/>
                </a:lnTo>
                <a:lnTo>
                  <a:pt x="38099" y="45719"/>
                </a:lnTo>
                <a:lnTo>
                  <a:pt x="42671" y="41147"/>
                </a:lnTo>
                <a:lnTo>
                  <a:pt x="53339" y="32003"/>
                </a:lnTo>
                <a:lnTo>
                  <a:pt x="70103" y="47243"/>
                </a:lnTo>
                <a:lnTo>
                  <a:pt x="70103" y="48767"/>
                </a:lnTo>
                <a:lnTo>
                  <a:pt x="71627" y="48767"/>
                </a:lnTo>
                <a:lnTo>
                  <a:pt x="73151" y="50291"/>
                </a:lnTo>
                <a:lnTo>
                  <a:pt x="73151" y="51815"/>
                </a:lnTo>
                <a:lnTo>
                  <a:pt x="74675" y="51815"/>
                </a:lnTo>
                <a:lnTo>
                  <a:pt x="74675" y="53339"/>
                </a:lnTo>
                <a:lnTo>
                  <a:pt x="76199" y="53339"/>
                </a:lnTo>
                <a:lnTo>
                  <a:pt x="86867" y="64007"/>
                </a:lnTo>
                <a:lnTo>
                  <a:pt x="92963" y="64007"/>
                </a:lnTo>
                <a:lnTo>
                  <a:pt x="94487" y="60959"/>
                </a:lnTo>
                <a:lnTo>
                  <a:pt x="97535" y="57911"/>
                </a:lnTo>
                <a:lnTo>
                  <a:pt x="100583" y="56387"/>
                </a:lnTo>
                <a:lnTo>
                  <a:pt x="100583" y="54863"/>
                </a:lnTo>
                <a:lnTo>
                  <a:pt x="105155" y="50291"/>
                </a:lnTo>
                <a:close/>
              </a:path>
              <a:path w="140335" h="73660">
                <a:moveTo>
                  <a:pt x="109727" y="44195"/>
                </a:moveTo>
                <a:lnTo>
                  <a:pt x="109727" y="27431"/>
                </a:lnTo>
                <a:lnTo>
                  <a:pt x="108203" y="27431"/>
                </a:lnTo>
                <a:lnTo>
                  <a:pt x="108203" y="28955"/>
                </a:lnTo>
                <a:lnTo>
                  <a:pt x="106679" y="28955"/>
                </a:lnTo>
                <a:lnTo>
                  <a:pt x="105155" y="30479"/>
                </a:lnTo>
                <a:lnTo>
                  <a:pt x="105155" y="48767"/>
                </a:lnTo>
                <a:lnTo>
                  <a:pt x="109727" y="44195"/>
                </a:lnTo>
                <a:close/>
              </a:path>
              <a:path w="140335" h="73660">
                <a:moveTo>
                  <a:pt x="112775" y="41147"/>
                </a:moveTo>
                <a:lnTo>
                  <a:pt x="112775" y="22859"/>
                </a:lnTo>
                <a:lnTo>
                  <a:pt x="109727" y="25907"/>
                </a:lnTo>
                <a:lnTo>
                  <a:pt x="109727" y="42671"/>
                </a:lnTo>
                <a:lnTo>
                  <a:pt x="111251" y="41147"/>
                </a:lnTo>
                <a:lnTo>
                  <a:pt x="112775" y="41147"/>
                </a:lnTo>
                <a:close/>
              </a:path>
              <a:path w="140335" h="73660">
                <a:moveTo>
                  <a:pt x="140207" y="0"/>
                </a:moveTo>
                <a:lnTo>
                  <a:pt x="112775" y="3047"/>
                </a:lnTo>
                <a:lnTo>
                  <a:pt x="120395" y="12191"/>
                </a:lnTo>
                <a:lnTo>
                  <a:pt x="121919" y="12191"/>
                </a:lnTo>
                <a:lnTo>
                  <a:pt x="121919" y="30479"/>
                </a:lnTo>
                <a:lnTo>
                  <a:pt x="128015" y="19811"/>
                </a:lnTo>
                <a:lnTo>
                  <a:pt x="129539" y="19811"/>
                </a:lnTo>
                <a:lnTo>
                  <a:pt x="135635" y="27431"/>
                </a:lnTo>
                <a:lnTo>
                  <a:pt x="137159" y="27431"/>
                </a:lnTo>
                <a:lnTo>
                  <a:pt x="137159" y="24383"/>
                </a:lnTo>
                <a:lnTo>
                  <a:pt x="140207" y="0"/>
                </a:lnTo>
                <a:close/>
              </a:path>
              <a:path w="140335" h="73660">
                <a:moveTo>
                  <a:pt x="121919" y="30479"/>
                </a:moveTo>
                <a:lnTo>
                  <a:pt x="121919" y="12191"/>
                </a:lnTo>
                <a:lnTo>
                  <a:pt x="112775" y="21335"/>
                </a:lnTo>
                <a:lnTo>
                  <a:pt x="112775" y="39623"/>
                </a:lnTo>
                <a:lnTo>
                  <a:pt x="114299" y="38099"/>
                </a:lnTo>
                <a:lnTo>
                  <a:pt x="115823" y="38099"/>
                </a:lnTo>
                <a:lnTo>
                  <a:pt x="115823" y="35051"/>
                </a:lnTo>
                <a:lnTo>
                  <a:pt x="118871" y="32003"/>
                </a:lnTo>
                <a:lnTo>
                  <a:pt x="120395" y="32003"/>
                </a:lnTo>
                <a:lnTo>
                  <a:pt x="121919" y="304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372365" y="4748821"/>
            <a:ext cx="34842" cy="36358"/>
          </a:xfrm>
          <a:custGeom>
            <a:avLst/>
            <a:gdLst/>
            <a:ahLst/>
            <a:cxnLst/>
            <a:rect l="l" t="t" r="r" b="b"/>
            <a:pathLst>
              <a:path w="29210" h="30479">
                <a:moveTo>
                  <a:pt x="28955" y="25907"/>
                </a:moveTo>
                <a:lnTo>
                  <a:pt x="28955" y="4571"/>
                </a:lnTo>
                <a:lnTo>
                  <a:pt x="27431" y="3047"/>
                </a:lnTo>
                <a:lnTo>
                  <a:pt x="25907" y="0"/>
                </a:lnTo>
                <a:lnTo>
                  <a:pt x="3047" y="0"/>
                </a:lnTo>
                <a:lnTo>
                  <a:pt x="3047" y="1523"/>
                </a:lnTo>
                <a:lnTo>
                  <a:pt x="0" y="4571"/>
                </a:lnTo>
                <a:lnTo>
                  <a:pt x="0" y="25907"/>
                </a:lnTo>
                <a:lnTo>
                  <a:pt x="3047" y="27431"/>
                </a:lnTo>
                <a:lnTo>
                  <a:pt x="6095" y="30479"/>
                </a:lnTo>
                <a:lnTo>
                  <a:pt x="24383" y="30479"/>
                </a:lnTo>
                <a:lnTo>
                  <a:pt x="28955" y="2590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417812" y="4707011"/>
            <a:ext cx="34842" cy="78775"/>
          </a:xfrm>
          <a:custGeom>
            <a:avLst/>
            <a:gdLst/>
            <a:ahLst/>
            <a:cxnLst/>
            <a:rect l="l" t="t" r="r" b="b"/>
            <a:pathLst>
              <a:path w="29210" h="66039">
                <a:moveTo>
                  <a:pt x="28955" y="60959"/>
                </a:moveTo>
                <a:lnTo>
                  <a:pt x="28955" y="3047"/>
                </a:lnTo>
                <a:lnTo>
                  <a:pt x="24383" y="1523"/>
                </a:lnTo>
                <a:lnTo>
                  <a:pt x="24383" y="0"/>
                </a:lnTo>
                <a:lnTo>
                  <a:pt x="4571" y="0"/>
                </a:lnTo>
                <a:lnTo>
                  <a:pt x="4571" y="1523"/>
                </a:lnTo>
                <a:lnTo>
                  <a:pt x="3047" y="1523"/>
                </a:lnTo>
                <a:lnTo>
                  <a:pt x="1523" y="3047"/>
                </a:lnTo>
                <a:lnTo>
                  <a:pt x="0" y="3047"/>
                </a:lnTo>
                <a:lnTo>
                  <a:pt x="1523" y="4571"/>
                </a:lnTo>
                <a:lnTo>
                  <a:pt x="1523" y="62483"/>
                </a:lnTo>
                <a:lnTo>
                  <a:pt x="4571" y="65531"/>
                </a:lnTo>
                <a:lnTo>
                  <a:pt x="25907" y="65531"/>
                </a:lnTo>
                <a:lnTo>
                  <a:pt x="28955" y="60959"/>
                </a:lnTo>
                <a:close/>
              </a:path>
              <a:path w="29210" h="66039">
                <a:moveTo>
                  <a:pt x="1523" y="60959"/>
                </a:moveTo>
                <a:lnTo>
                  <a:pt x="1523" y="4571"/>
                </a:lnTo>
                <a:lnTo>
                  <a:pt x="0" y="6095"/>
                </a:lnTo>
                <a:lnTo>
                  <a:pt x="0" y="59435"/>
                </a:lnTo>
                <a:lnTo>
                  <a:pt x="1523" y="609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463258" y="4725189"/>
            <a:ext cx="34842" cy="60596"/>
          </a:xfrm>
          <a:custGeom>
            <a:avLst/>
            <a:gdLst/>
            <a:ahLst/>
            <a:cxnLst/>
            <a:rect l="l" t="t" r="r" b="b"/>
            <a:pathLst>
              <a:path w="29210" h="50800">
                <a:moveTo>
                  <a:pt x="27431" y="47243"/>
                </a:moveTo>
                <a:lnTo>
                  <a:pt x="27431" y="3047"/>
                </a:lnTo>
                <a:lnTo>
                  <a:pt x="25907" y="1523"/>
                </a:lnTo>
                <a:lnTo>
                  <a:pt x="22859" y="0"/>
                </a:lnTo>
                <a:lnTo>
                  <a:pt x="3047" y="0"/>
                </a:lnTo>
                <a:lnTo>
                  <a:pt x="0" y="4571"/>
                </a:lnTo>
                <a:lnTo>
                  <a:pt x="0" y="45719"/>
                </a:lnTo>
                <a:lnTo>
                  <a:pt x="4571" y="50291"/>
                </a:lnTo>
                <a:lnTo>
                  <a:pt x="24383" y="50291"/>
                </a:lnTo>
                <a:lnTo>
                  <a:pt x="25907" y="48767"/>
                </a:lnTo>
                <a:lnTo>
                  <a:pt x="25907" y="47243"/>
                </a:lnTo>
                <a:lnTo>
                  <a:pt x="27431" y="47243"/>
                </a:lnTo>
                <a:close/>
              </a:path>
              <a:path w="29210" h="50800">
                <a:moveTo>
                  <a:pt x="28955" y="44195"/>
                </a:moveTo>
                <a:lnTo>
                  <a:pt x="28955" y="6095"/>
                </a:lnTo>
                <a:lnTo>
                  <a:pt x="27431" y="4571"/>
                </a:lnTo>
                <a:lnTo>
                  <a:pt x="27431" y="45719"/>
                </a:lnTo>
                <a:lnTo>
                  <a:pt x="28955" y="44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510524" y="4687015"/>
            <a:ext cx="34842" cy="98468"/>
          </a:xfrm>
          <a:custGeom>
            <a:avLst/>
            <a:gdLst/>
            <a:ahLst/>
            <a:cxnLst/>
            <a:rect l="l" t="t" r="r" b="b"/>
            <a:pathLst>
              <a:path w="29210" h="82550">
                <a:moveTo>
                  <a:pt x="28955" y="79247"/>
                </a:moveTo>
                <a:lnTo>
                  <a:pt x="28955" y="4571"/>
                </a:lnTo>
                <a:lnTo>
                  <a:pt x="24383" y="0"/>
                </a:lnTo>
                <a:lnTo>
                  <a:pt x="4571" y="0"/>
                </a:lnTo>
                <a:lnTo>
                  <a:pt x="3047" y="1523"/>
                </a:lnTo>
                <a:lnTo>
                  <a:pt x="3047" y="3047"/>
                </a:lnTo>
                <a:lnTo>
                  <a:pt x="1523" y="3047"/>
                </a:lnTo>
                <a:lnTo>
                  <a:pt x="1523" y="4571"/>
                </a:lnTo>
                <a:lnTo>
                  <a:pt x="0" y="6095"/>
                </a:lnTo>
                <a:lnTo>
                  <a:pt x="0" y="77723"/>
                </a:lnTo>
                <a:lnTo>
                  <a:pt x="4571" y="82295"/>
                </a:lnTo>
                <a:lnTo>
                  <a:pt x="24383" y="82295"/>
                </a:lnTo>
                <a:lnTo>
                  <a:pt x="28955" y="792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6348732" y="4617935"/>
            <a:ext cx="224204" cy="189362"/>
          </a:xfrm>
          <a:custGeom>
            <a:avLst/>
            <a:gdLst/>
            <a:ahLst/>
            <a:cxnLst/>
            <a:rect l="l" t="t" r="r" b="b"/>
            <a:pathLst>
              <a:path w="187960" h="158750">
                <a:moveTo>
                  <a:pt x="187451" y="155447"/>
                </a:moveTo>
                <a:lnTo>
                  <a:pt x="187451" y="150875"/>
                </a:lnTo>
                <a:lnTo>
                  <a:pt x="7619" y="150875"/>
                </a:lnTo>
                <a:lnTo>
                  <a:pt x="7619" y="1523"/>
                </a:lnTo>
                <a:lnTo>
                  <a:pt x="6095" y="0"/>
                </a:lnTo>
                <a:lnTo>
                  <a:pt x="3047" y="0"/>
                </a:lnTo>
                <a:lnTo>
                  <a:pt x="1523" y="1523"/>
                </a:lnTo>
                <a:lnTo>
                  <a:pt x="0" y="1523"/>
                </a:lnTo>
                <a:lnTo>
                  <a:pt x="0" y="155447"/>
                </a:lnTo>
                <a:lnTo>
                  <a:pt x="1523" y="158495"/>
                </a:lnTo>
                <a:lnTo>
                  <a:pt x="185927" y="158495"/>
                </a:lnTo>
                <a:lnTo>
                  <a:pt x="185927" y="155447"/>
                </a:lnTo>
                <a:lnTo>
                  <a:pt x="187451" y="1554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472076" y="3424801"/>
            <a:ext cx="668070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S&amp;D</a:t>
            </a:r>
            <a:r>
              <a:rPr sz="995" i="1" spc="-48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1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6382363" y="3447222"/>
            <a:ext cx="0" cy="112860"/>
          </a:xfrm>
          <a:custGeom>
            <a:avLst/>
            <a:gdLst/>
            <a:ahLst/>
            <a:cxnLst/>
            <a:rect l="l" t="t" r="r" b="b"/>
            <a:pathLst>
              <a:path h="94614">
                <a:moveTo>
                  <a:pt x="0" y="0"/>
                </a:moveTo>
                <a:lnTo>
                  <a:pt x="0" y="94487"/>
                </a:lnTo>
              </a:path>
            </a:pathLst>
          </a:custGeom>
          <a:ln w="45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6376001" y="3441768"/>
            <a:ext cx="12876" cy="121950"/>
          </a:xfrm>
          <a:custGeom>
            <a:avLst/>
            <a:gdLst/>
            <a:ahLst/>
            <a:cxnLst/>
            <a:rect l="l" t="t" r="r" b="b"/>
            <a:pathLst>
              <a:path w="10795" h="102235">
                <a:moveTo>
                  <a:pt x="10667" y="102107"/>
                </a:moveTo>
                <a:lnTo>
                  <a:pt x="10667" y="0"/>
                </a:lnTo>
                <a:lnTo>
                  <a:pt x="0" y="0"/>
                </a:lnTo>
                <a:lnTo>
                  <a:pt x="0" y="102107"/>
                </a:lnTo>
                <a:lnTo>
                  <a:pt x="3047" y="102107"/>
                </a:lnTo>
                <a:lnTo>
                  <a:pt x="3047" y="4571"/>
                </a:lnTo>
                <a:lnTo>
                  <a:pt x="5333" y="6095"/>
                </a:lnTo>
                <a:lnTo>
                  <a:pt x="7619" y="4571"/>
                </a:lnTo>
                <a:lnTo>
                  <a:pt x="7619" y="102107"/>
                </a:lnTo>
                <a:lnTo>
                  <a:pt x="10667" y="102107"/>
                </a:lnTo>
                <a:close/>
              </a:path>
              <a:path w="10795" h="102235">
                <a:moveTo>
                  <a:pt x="5333" y="6095"/>
                </a:moveTo>
                <a:lnTo>
                  <a:pt x="3047" y="4571"/>
                </a:lnTo>
                <a:lnTo>
                  <a:pt x="3047" y="7619"/>
                </a:lnTo>
                <a:lnTo>
                  <a:pt x="5333" y="6095"/>
                </a:lnTo>
                <a:close/>
              </a:path>
              <a:path w="10795" h="102235">
                <a:moveTo>
                  <a:pt x="7619" y="7619"/>
                </a:moveTo>
                <a:lnTo>
                  <a:pt x="5333" y="6095"/>
                </a:lnTo>
                <a:lnTo>
                  <a:pt x="3047" y="7619"/>
                </a:lnTo>
                <a:lnTo>
                  <a:pt x="7619" y="7619"/>
                </a:lnTo>
                <a:close/>
              </a:path>
              <a:path w="10795" h="102235">
                <a:moveTo>
                  <a:pt x="7619" y="94487"/>
                </a:moveTo>
                <a:lnTo>
                  <a:pt x="7619" y="7619"/>
                </a:lnTo>
                <a:lnTo>
                  <a:pt x="3047" y="7619"/>
                </a:lnTo>
                <a:lnTo>
                  <a:pt x="3047" y="94487"/>
                </a:lnTo>
                <a:lnTo>
                  <a:pt x="7619" y="94487"/>
                </a:lnTo>
                <a:close/>
              </a:path>
              <a:path w="10795" h="102235">
                <a:moveTo>
                  <a:pt x="7619" y="94487"/>
                </a:moveTo>
                <a:lnTo>
                  <a:pt x="3047" y="94487"/>
                </a:lnTo>
                <a:lnTo>
                  <a:pt x="5333" y="96773"/>
                </a:lnTo>
                <a:lnTo>
                  <a:pt x="7619" y="94487"/>
                </a:lnTo>
                <a:close/>
              </a:path>
              <a:path w="10795" h="102235">
                <a:moveTo>
                  <a:pt x="5333" y="96773"/>
                </a:moveTo>
                <a:lnTo>
                  <a:pt x="3047" y="94487"/>
                </a:lnTo>
                <a:lnTo>
                  <a:pt x="3047" y="99059"/>
                </a:lnTo>
                <a:lnTo>
                  <a:pt x="5333" y="96773"/>
                </a:lnTo>
                <a:close/>
              </a:path>
              <a:path w="10795" h="102235">
                <a:moveTo>
                  <a:pt x="7619" y="102107"/>
                </a:moveTo>
                <a:lnTo>
                  <a:pt x="7619" y="99059"/>
                </a:lnTo>
                <a:lnTo>
                  <a:pt x="5333" y="96773"/>
                </a:lnTo>
                <a:lnTo>
                  <a:pt x="3047" y="99059"/>
                </a:lnTo>
                <a:lnTo>
                  <a:pt x="3047" y="102107"/>
                </a:lnTo>
                <a:lnTo>
                  <a:pt x="7619" y="102107"/>
                </a:lnTo>
                <a:close/>
              </a:path>
              <a:path w="10795" h="102235">
                <a:moveTo>
                  <a:pt x="7619" y="7619"/>
                </a:moveTo>
                <a:lnTo>
                  <a:pt x="7619" y="4571"/>
                </a:lnTo>
                <a:lnTo>
                  <a:pt x="5333" y="6095"/>
                </a:lnTo>
                <a:lnTo>
                  <a:pt x="7619" y="7619"/>
                </a:lnTo>
                <a:close/>
              </a:path>
              <a:path w="10795" h="102235">
                <a:moveTo>
                  <a:pt x="7619" y="99059"/>
                </a:moveTo>
                <a:lnTo>
                  <a:pt x="7619" y="94487"/>
                </a:lnTo>
                <a:lnTo>
                  <a:pt x="5333" y="96773"/>
                </a:lnTo>
                <a:lnTo>
                  <a:pt x="7619" y="990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6542335" y="3447222"/>
            <a:ext cx="0" cy="112860"/>
          </a:xfrm>
          <a:custGeom>
            <a:avLst/>
            <a:gdLst/>
            <a:ahLst/>
            <a:cxnLst/>
            <a:rect l="l" t="t" r="r" b="b"/>
            <a:pathLst>
              <a:path h="94614">
                <a:moveTo>
                  <a:pt x="0" y="0"/>
                </a:moveTo>
                <a:lnTo>
                  <a:pt x="0" y="94487"/>
                </a:lnTo>
              </a:path>
            </a:pathLst>
          </a:custGeom>
          <a:ln w="45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6535974" y="3441768"/>
            <a:ext cx="15149" cy="121950"/>
          </a:xfrm>
          <a:custGeom>
            <a:avLst/>
            <a:gdLst/>
            <a:ahLst/>
            <a:cxnLst/>
            <a:rect l="l" t="t" r="r" b="b"/>
            <a:pathLst>
              <a:path w="12700" h="102235">
                <a:moveTo>
                  <a:pt x="12191" y="102107"/>
                </a:moveTo>
                <a:lnTo>
                  <a:pt x="12191" y="0"/>
                </a:lnTo>
                <a:lnTo>
                  <a:pt x="0" y="0"/>
                </a:lnTo>
                <a:lnTo>
                  <a:pt x="0" y="102107"/>
                </a:lnTo>
                <a:lnTo>
                  <a:pt x="3047" y="102107"/>
                </a:lnTo>
                <a:lnTo>
                  <a:pt x="3047" y="4571"/>
                </a:lnTo>
                <a:lnTo>
                  <a:pt x="5333" y="6095"/>
                </a:lnTo>
                <a:lnTo>
                  <a:pt x="7619" y="4571"/>
                </a:lnTo>
                <a:lnTo>
                  <a:pt x="7619" y="102107"/>
                </a:lnTo>
                <a:lnTo>
                  <a:pt x="12191" y="102107"/>
                </a:lnTo>
                <a:close/>
              </a:path>
              <a:path w="12700" h="102235">
                <a:moveTo>
                  <a:pt x="5333" y="6095"/>
                </a:moveTo>
                <a:lnTo>
                  <a:pt x="3047" y="4571"/>
                </a:lnTo>
                <a:lnTo>
                  <a:pt x="3047" y="7619"/>
                </a:lnTo>
                <a:lnTo>
                  <a:pt x="5333" y="6095"/>
                </a:lnTo>
                <a:close/>
              </a:path>
              <a:path w="12700" h="102235">
                <a:moveTo>
                  <a:pt x="7619" y="7619"/>
                </a:moveTo>
                <a:lnTo>
                  <a:pt x="5333" y="6095"/>
                </a:lnTo>
                <a:lnTo>
                  <a:pt x="3047" y="7619"/>
                </a:lnTo>
                <a:lnTo>
                  <a:pt x="7619" y="7619"/>
                </a:lnTo>
                <a:close/>
              </a:path>
              <a:path w="12700" h="102235">
                <a:moveTo>
                  <a:pt x="7619" y="94487"/>
                </a:moveTo>
                <a:lnTo>
                  <a:pt x="7619" y="7619"/>
                </a:lnTo>
                <a:lnTo>
                  <a:pt x="3047" y="7619"/>
                </a:lnTo>
                <a:lnTo>
                  <a:pt x="3047" y="94487"/>
                </a:lnTo>
                <a:lnTo>
                  <a:pt x="7619" y="94487"/>
                </a:lnTo>
                <a:close/>
              </a:path>
              <a:path w="12700" h="102235">
                <a:moveTo>
                  <a:pt x="7619" y="94487"/>
                </a:moveTo>
                <a:lnTo>
                  <a:pt x="3047" y="94487"/>
                </a:lnTo>
                <a:lnTo>
                  <a:pt x="5333" y="96773"/>
                </a:lnTo>
                <a:lnTo>
                  <a:pt x="7619" y="94487"/>
                </a:lnTo>
                <a:close/>
              </a:path>
              <a:path w="12700" h="102235">
                <a:moveTo>
                  <a:pt x="5333" y="96773"/>
                </a:moveTo>
                <a:lnTo>
                  <a:pt x="3047" y="94487"/>
                </a:lnTo>
                <a:lnTo>
                  <a:pt x="3047" y="99059"/>
                </a:lnTo>
                <a:lnTo>
                  <a:pt x="5333" y="96773"/>
                </a:lnTo>
                <a:close/>
              </a:path>
              <a:path w="12700" h="102235">
                <a:moveTo>
                  <a:pt x="7619" y="102107"/>
                </a:moveTo>
                <a:lnTo>
                  <a:pt x="7619" y="99059"/>
                </a:lnTo>
                <a:lnTo>
                  <a:pt x="5333" y="96773"/>
                </a:lnTo>
                <a:lnTo>
                  <a:pt x="3047" y="99059"/>
                </a:lnTo>
                <a:lnTo>
                  <a:pt x="3047" y="102107"/>
                </a:lnTo>
                <a:lnTo>
                  <a:pt x="7619" y="102107"/>
                </a:lnTo>
                <a:close/>
              </a:path>
              <a:path w="12700" h="102235">
                <a:moveTo>
                  <a:pt x="7619" y="7619"/>
                </a:moveTo>
                <a:lnTo>
                  <a:pt x="7619" y="4571"/>
                </a:lnTo>
                <a:lnTo>
                  <a:pt x="5333" y="6095"/>
                </a:lnTo>
                <a:lnTo>
                  <a:pt x="7619" y="7619"/>
                </a:lnTo>
                <a:close/>
              </a:path>
              <a:path w="12700" h="102235">
                <a:moveTo>
                  <a:pt x="7619" y="99059"/>
                </a:moveTo>
                <a:lnTo>
                  <a:pt x="7619" y="94487"/>
                </a:lnTo>
                <a:lnTo>
                  <a:pt x="5333" y="96773"/>
                </a:lnTo>
                <a:lnTo>
                  <a:pt x="7619" y="990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6361458" y="3446314"/>
            <a:ext cx="198452" cy="0"/>
          </a:xfrm>
          <a:custGeom>
            <a:avLst/>
            <a:gdLst/>
            <a:ahLst/>
            <a:cxnLst/>
            <a:rect l="l" t="t" r="r" b="b"/>
            <a:pathLst>
              <a:path w="166370">
                <a:moveTo>
                  <a:pt x="0" y="0"/>
                </a:moveTo>
                <a:lnTo>
                  <a:pt x="166115" y="0"/>
                </a:lnTo>
              </a:path>
            </a:pathLst>
          </a:custGeom>
          <a:ln w="45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6356004" y="3439951"/>
            <a:ext cx="209056" cy="12876"/>
          </a:xfrm>
          <a:custGeom>
            <a:avLst/>
            <a:gdLst/>
            <a:ahLst/>
            <a:cxnLst/>
            <a:rect l="l" t="t" r="r" b="b"/>
            <a:pathLst>
              <a:path w="175260" h="10795">
                <a:moveTo>
                  <a:pt x="175259" y="10667"/>
                </a:moveTo>
                <a:lnTo>
                  <a:pt x="175259" y="0"/>
                </a:lnTo>
                <a:lnTo>
                  <a:pt x="0" y="0"/>
                </a:lnTo>
                <a:lnTo>
                  <a:pt x="0" y="10667"/>
                </a:lnTo>
                <a:lnTo>
                  <a:pt x="4571" y="10667"/>
                </a:lnTo>
                <a:lnTo>
                  <a:pt x="4571" y="3047"/>
                </a:lnTo>
                <a:lnTo>
                  <a:pt x="170687" y="3047"/>
                </a:lnTo>
                <a:lnTo>
                  <a:pt x="170687" y="10667"/>
                </a:lnTo>
                <a:lnTo>
                  <a:pt x="175259" y="10667"/>
                </a:lnTo>
                <a:close/>
              </a:path>
              <a:path w="175260" h="10795">
                <a:moveTo>
                  <a:pt x="7619" y="3047"/>
                </a:moveTo>
                <a:lnTo>
                  <a:pt x="4571" y="3047"/>
                </a:lnTo>
                <a:lnTo>
                  <a:pt x="6095" y="5333"/>
                </a:lnTo>
                <a:lnTo>
                  <a:pt x="7619" y="3047"/>
                </a:lnTo>
                <a:close/>
              </a:path>
              <a:path w="175260" h="10795">
                <a:moveTo>
                  <a:pt x="6095" y="5333"/>
                </a:moveTo>
                <a:lnTo>
                  <a:pt x="4571" y="3047"/>
                </a:lnTo>
                <a:lnTo>
                  <a:pt x="4571" y="7619"/>
                </a:lnTo>
                <a:lnTo>
                  <a:pt x="6095" y="5333"/>
                </a:lnTo>
                <a:close/>
              </a:path>
              <a:path w="175260" h="10795">
                <a:moveTo>
                  <a:pt x="7619" y="7619"/>
                </a:moveTo>
                <a:lnTo>
                  <a:pt x="6095" y="5333"/>
                </a:lnTo>
                <a:lnTo>
                  <a:pt x="4571" y="7619"/>
                </a:lnTo>
                <a:lnTo>
                  <a:pt x="7619" y="7619"/>
                </a:lnTo>
                <a:close/>
              </a:path>
              <a:path w="175260" h="10795">
                <a:moveTo>
                  <a:pt x="170687" y="10667"/>
                </a:moveTo>
                <a:lnTo>
                  <a:pt x="170687" y="7619"/>
                </a:lnTo>
                <a:lnTo>
                  <a:pt x="4571" y="7619"/>
                </a:lnTo>
                <a:lnTo>
                  <a:pt x="4571" y="10667"/>
                </a:lnTo>
                <a:lnTo>
                  <a:pt x="170687" y="10667"/>
                </a:lnTo>
                <a:close/>
              </a:path>
              <a:path w="175260" h="10795">
                <a:moveTo>
                  <a:pt x="169163" y="5333"/>
                </a:moveTo>
                <a:lnTo>
                  <a:pt x="167639" y="3047"/>
                </a:lnTo>
                <a:lnTo>
                  <a:pt x="7619" y="3047"/>
                </a:lnTo>
                <a:lnTo>
                  <a:pt x="6095" y="5333"/>
                </a:lnTo>
                <a:lnTo>
                  <a:pt x="7619" y="7619"/>
                </a:lnTo>
                <a:lnTo>
                  <a:pt x="167639" y="7619"/>
                </a:lnTo>
                <a:lnTo>
                  <a:pt x="169163" y="5333"/>
                </a:lnTo>
                <a:close/>
              </a:path>
              <a:path w="175260" h="10795">
                <a:moveTo>
                  <a:pt x="170687" y="3047"/>
                </a:moveTo>
                <a:lnTo>
                  <a:pt x="167639" y="3047"/>
                </a:lnTo>
                <a:lnTo>
                  <a:pt x="169163" y="5333"/>
                </a:lnTo>
                <a:lnTo>
                  <a:pt x="170687" y="3047"/>
                </a:lnTo>
                <a:close/>
              </a:path>
              <a:path w="175260" h="10795">
                <a:moveTo>
                  <a:pt x="170687" y="7619"/>
                </a:moveTo>
                <a:lnTo>
                  <a:pt x="169163" y="5333"/>
                </a:lnTo>
                <a:lnTo>
                  <a:pt x="167639" y="7619"/>
                </a:lnTo>
                <a:lnTo>
                  <a:pt x="170687" y="7619"/>
                </a:lnTo>
                <a:close/>
              </a:path>
              <a:path w="175260" h="10795">
                <a:moveTo>
                  <a:pt x="170687" y="7619"/>
                </a:moveTo>
                <a:lnTo>
                  <a:pt x="170687" y="3047"/>
                </a:lnTo>
                <a:lnTo>
                  <a:pt x="169163" y="5333"/>
                </a:lnTo>
                <a:lnTo>
                  <a:pt x="170687" y="7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6372365" y="3559023"/>
            <a:ext cx="180272" cy="0"/>
          </a:xfrm>
          <a:custGeom>
            <a:avLst/>
            <a:gdLst/>
            <a:ahLst/>
            <a:cxnLst/>
            <a:rect l="l" t="t" r="r" b="b"/>
            <a:pathLst>
              <a:path w="151129">
                <a:moveTo>
                  <a:pt x="0" y="0"/>
                </a:moveTo>
                <a:lnTo>
                  <a:pt x="150875" y="0"/>
                </a:lnTo>
              </a:path>
            </a:pathLst>
          </a:custGeom>
          <a:ln w="45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6368729" y="3552660"/>
            <a:ext cx="187848" cy="12876"/>
          </a:xfrm>
          <a:custGeom>
            <a:avLst/>
            <a:gdLst/>
            <a:ahLst/>
            <a:cxnLst/>
            <a:rect l="l" t="t" r="r" b="b"/>
            <a:pathLst>
              <a:path w="157479" h="10795">
                <a:moveTo>
                  <a:pt x="156971" y="10667"/>
                </a:moveTo>
                <a:lnTo>
                  <a:pt x="156971" y="0"/>
                </a:lnTo>
                <a:lnTo>
                  <a:pt x="0" y="0"/>
                </a:lnTo>
                <a:lnTo>
                  <a:pt x="0" y="10667"/>
                </a:lnTo>
                <a:lnTo>
                  <a:pt x="3047" y="10667"/>
                </a:lnTo>
                <a:lnTo>
                  <a:pt x="3047" y="3047"/>
                </a:lnTo>
                <a:lnTo>
                  <a:pt x="153923" y="3047"/>
                </a:lnTo>
                <a:lnTo>
                  <a:pt x="153923" y="10667"/>
                </a:lnTo>
                <a:lnTo>
                  <a:pt x="156971" y="10667"/>
                </a:lnTo>
                <a:close/>
              </a:path>
              <a:path w="157479" h="10795">
                <a:moveTo>
                  <a:pt x="7619" y="3047"/>
                </a:moveTo>
                <a:lnTo>
                  <a:pt x="3047" y="3047"/>
                </a:lnTo>
                <a:lnTo>
                  <a:pt x="5333" y="5333"/>
                </a:lnTo>
                <a:lnTo>
                  <a:pt x="7619" y="3047"/>
                </a:lnTo>
                <a:close/>
              </a:path>
              <a:path w="157479" h="10795">
                <a:moveTo>
                  <a:pt x="5333" y="5333"/>
                </a:moveTo>
                <a:lnTo>
                  <a:pt x="3047" y="3047"/>
                </a:lnTo>
                <a:lnTo>
                  <a:pt x="3047" y="7619"/>
                </a:lnTo>
                <a:lnTo>
                  <a:pt x="5333" y="5333"/>
                </a:lnTo>
                <a:close/>
              </a:path>
              <a:path w="157479" h="10795">
                <a:moveTo>
                  <a:pt x="7619" y="7619"/>
                </a:moveTo>
                <a:lnTo>
                  <a:pt x="5333" y="5333"/>
                </a:lnTo>
                <a:lnTo>
                  <a:pt x="3047" y="7619"/>
                </a:lnTo>
                <a:lnTo>
                  <a:pt x="7619" y="7619"/>
                </a:lnTo>
                <a:close/>
              </a:path>
              <a:path w="157479" h="10795">
                <a:moveTo>
                  <a:pt x="153923" y="10667"/>
                </a:moveTo>
                <a:lnTo>
                  <a:pt x="153923" y="7619"/>
                </a:lnTo>
                <a:lnTo>
                  <a:pt x="3047" y="7619"/>
                </a:lnTo>
                <a:lnTo>
                  <a:pt x="3047" y="10667"/>
                </a:lnTo>
                <a:lnTo>
                  <a:pt x="153923" y="10667"/>
                </a:lnTo>
                <a:close/>
              </a:path>
              <a:path w="157479" h="10795">
                <a:moveTo>
                  <a:pt x="151637" y="5333"/>
                </a:moveTo>
                <a:lnTo>
                  <a:pt x="149351" y="3047"/>
                </a:lnTo>
                <a:lnTo>
                  <a:pt x="7619" y="3047"/>
                </a:lnTo>
                <a:lnTo>
                  <a:pt x="5333" y="5333"/>
                </a:lnTo>
                <a:lnTo>
                  <a:pt x="7619" y="7619"/>
                </a:lnTo>
                <a:lnTo>
                  <a:pt x="149351" y="7619"/>
                </a:lnTo>
                <a:lnTo>
                  <a:pt x="151637" y="5333"/>
                </a:lnTo>
                <a:close/>
              </a:path>
              <a:path w="157479" h="10795">
                <a:moveTo>
                  <a:pt x="153923" y="3047"/>
                </a:moveTo>
                <a:lnTo>
                  <a:pt x="149351" y="3047"/>
                </a:lnTo>
                <a:lnTo>
                  <a:pt x="151637" y="5333"/>
                </a:lnTo>
                <a:lnTo>
                  <a:pt x="153923" y="3047"/>
                </a:lnTo>
                <a:close/>
              </a:path>
              <a:path w="157479" h="10795">
                <a:moveTo>
                  <a:pt x="153923" y="7619"/>
                </a:moveTo>
                <a:lnTo>
                  <a:pt x="151637" y="5333"/>
                </a:lnTo>
                <a:lnTo>
                  <a:pt x="149351" y="7619"/>
                </a:lnTo>
                <a:lnTo>
                  <a:pt x="153923" y="7619"/>
                </a:lnTo>
                <a:close/>
              </a:path>
              <a:path w="157479" h="10795">
                <a:moveTo>
                  <a:pt x="153923" y="7619"/>
                </a:moveTo>
                <a:lnTo>
                  <a:pt x="153923" y="3047"/>
                </a:lnTo>
                <a:lnTo>
                  <a:pt x="151637" y="5333"/>
                </a:lnTo>
                <a:lnTo>
                  <a:pt x="153923" y="7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6450534" y="3554478"/>
            <a:ext cx="15149" cy="103770"/>
          </a:xfrm>
          <a:custGeom>
            <a:avLst/>
            <a:gdLst/>
            <a:ahLst/>
            <a:cxnLst/>
            <a:rect l="l" t="t" r="r" b="b"/>
            <a:pathLst>
              <a:path w="12700" h="86995">
                <a:moveTo>
                  <a:pt x="12191" y="86867"/>
                </a:moveTo>
                <a:lnTo>
                  <a:pt x="12191" y="0"/>
                </a:lnTo>
                <a:lnTo>
                  <a:pt x="0" y="0"/>
                </a:lnTo>
                <a:lnTo>
                  <a:pt x="0" y="86867"/>
                </a:lnTo>
                <a:lnTo>
                  <a:pt x="4571" y="86867"/>
                </a:lnTo>
                <a:lnTo>
                  <a:pt x="4571" y="4571"/>
                </a:lnTo>
                <a:lnTo>
                  <a:pt x="6857" y="6095"/>
                </a:lnTo>
                <a:lnTo>
                  <a:pt x="9143" y="4571"/>
                </a:lnTo>
                <a:lnTo>
                  <a:pt x="9143" y="86867"/>
                </a:lnTo>
                <a:lnTo>
                  <a:pt x="12191" y="86867"/>
                </a:lnTo>
                <a:close/>
              </a:path>
              <a:path w="12700" h="86995">
                <a:moveTo>
                  <a:pt x="6857" y="6095"/>
                </a:moveTo>
                <a:lnTo>
                  <a:pt x="4571" y="4571"/>
                </a:lnTo>
                <a:lnTo>
                  <a:pt x="4571" y="7619"/>
                </a:lnTo>
                <a:lnTo>
                  <a:pt x="6857" y="6095"/>
                </a:lnTo>
                <a:close/>
              </a:path>
              <a:path w="12700" h="86995">
                <a:moveTo>
                  <a:pt x="9143" y="7619"/>
                </a:moveTo>
                <a:lnTo>
                  <a:pt x="6857" y="6095"/>
                </a:lnTo>
                <a:lnTo>
                  <a:pt x="4571" y="7619"/>
                </a:lnTo>
                <a:lnTo>
                  <a:pt x="9143" y="7619"/>
                </a:lnTo>
                <a:close/>
              </a:path>
              <a:path w="12700" h="86995">
                <a:moveTo>
                  <a:pt x="9143" y="79247"/>
                </a:moveTo>
                <a:lnTo>
                  <a:pt x="9143" y="7619"/>
                </a:lnTo>
                <a:lnTo>
                  <a:pt x="4571" y="7619"/>
                </a:lnTo>
                <a:lnTo>
                  <a:pt x="4571" y="79247"/>
                </a:lnTo>
                <a:lnTo>
                  <a:pt x="9143" y="79247"/>
                </a:lnTo>
                <a:close/>
              </a:path>
              <a:path w="12700" h="86995">
                <a:moveTo>
                  <a:pt x="9143" y="79247"/>
                </a:moveTo>
                <a:lnTo>
                  <a:pt x="4571" y="79247"/>
                </a:lnTo>
                <a:lnTo>
                  <a:pt x="6857" y="80771"/>
                </a:lnTo>
                <a:lnTo>
                  <a:pt x="9143" y="79247"/>
                </a:lnTo>
                <a:close/>
              </a:path>
              <a:path w="12700" h="86995">
                <a:moveTo>
                  <a:pt x="6857" y="80771"/>
                </a:moveTo>
                <a:lnTo>
                  <a:pt x="4571" y="79247"/>
                </a:lnTo>
                <a:lnTo>
                  <a:pt x="4571" y="82295"/>
                </a:lnTo>
                <a:lnTo>
                  <a:pt x="6857" y="80771"/>
                </a:lnTo>
                <a:close/>
              </a:path>
              <a:path w="12700" h="86995">
                <a:moveTo>
                  <a:pt x="9143" y="86867"/>
                </a:moveTo>
                <a:lnTo>
                  <a:pt x="9143" y="82295"/>
                </a:lnTo>
                <a:lnTo>
                  <a:pt x="6857" y="80771"/>
                </a:lnTo>
                <a:lnTo>
                  <a:pt x="4571" y="82295"/>
                </a:lnTo>
                <a:lnTo>
                  <a:pt x="4571" y="86867"/>
                </a:lnTo>
                <a:lnTo>
                  <a:pt x="9143" y="86867"/>
                </a:lnTo>
                <a:close/>
              </a:path>
              <a:path w="12700" h="86995">
                <a:moveTo>
                  <a:pt x="9143" y="7619"/>
                </a:moveTo>
                <a:lnTo>
                  <a:pt x="9143" y="4571"/>
                </a:lnTo>
                <a:lnTo>
                  <a:pt x="6857" y="6095"/>
                </a:lnTo>
                <a:lnTo>
                  <a:pt x="9143" y="7619"/>
                </a:lnTo>
                <a:close/>
              </a:path>
              <a:path w="12700" h="86995">
                <a:moveTo>
                  <a:pt x="9143" y="82295"/>
                </a:moveTo>
                <a:lnTo>
                  <a:pt x="9143" y="79247"/>
                </a:lnTo>
                <a:lnTo>
                  <a:pt x="6857" y="80771"/>
                </a:lnTo>
                <a:lnTo>
                  <a:pt x="9143" y="822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6419630" y="3616286"/>
            <a:ext cx="40144" cy="40144"/>
          </a:xfrm>
          <a:custGeom>
            <a:avLst/>
            <a:gdLst/>
            <a:ahLst/>
            <a:cxnLst/>
            <a:rect l="l" t="t" r="r" b="b"/>
            <a:pathLst>
              <a:path w="33654" h="33654">
                <a:moveTo>
                  <a:pt x="33527" y="3047"/>
                </a:moveTo>
                <a:lnTo>
                  <a:pt x="32003" y="0"/>
                </a:lnTo>
                <a:lnTo>
                  <a:pt x="0" y="32003"/>
                </a:lnTo>
                <a:lnTo>
                  <a:pt x="3047" y="33527"/>
                </a:lnTo>
                <a:lnTo>
                  <a:pt x="33527" y="30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6414177" y="3610830"/>
            <a:ext cx="51507" cy="51507"/>
          </a:xfrm>
          <a:custGeom>
            <a:avLst/>
            <a:gdLst/>
            <a:ahLst/>
            <a:cxnLst/>
            <a:rect l="l" t="t" r="r" b="b"/>
            <a:pathLst>
              <a:path w="43179" h="43179">
                <a:moveTo>
                  <a:pt x="42671" y="9143"/>
                </a:moveTo>
                <a:lnTo>
                  <a:pt x="42671" y="6095"/>
                </a:lnTo>
                <a:lnTo>
                  <a:pt x="36575" y="0"/>
                </a:lnTo>
                <a:lnTo>
                  <a:pt x="35051" y="0"/>
                </a:lnTo>
                <a:lnTo>
                  <a:pt x="0" y="35051"/>
                </a:lnTo>
                <a:lnTo>
                  <a:pt x="0" y="38099"/>
                </a:lnTo>
                <a:lnTo>
                  <a:pt x="1523" y="39623"/>
                </a:lnTo>
                <a:lnTo>
                  <a:pt x="4571" y="41147"/>
                </a:lnTo>
                <a:lnTo>
                  <a:pt x="4571" y="35051"/>
                </a:lnTo>
                <a:lnTo>
                  <a:pt x="35051" y="4571"/>
                </a:lnTo>
                <a:lnTo>
                  <a:pt x="35051" y="7619"/>
                </a:lnTo>
                <a:lnTo>
                  <a:pt x="38099" y="7619"/>
                </a:lnTo>
                <a:lnTo>
                  <a:pt x="38099" y="13570"/>
                </a:lnTo>
                <a:lnTo>
                  <a:pt x="41147" y="10667"/>
                </a:lnTo>
                <a:lnTo>
                  <a:pt x="42671" y="9143"/>
                </a:lnTo>
                <a:close/>
              </a:path>
              <a:path w="43179" h="43179">
                <a:moveTo>
                  <a:pt x="35051" y="7619"/>
                </a:moveTo>
                <a:lnTo>
                  <a:pt x="35051" y="4571"/>
                </a:lnTo>
                <a:lnTo>
                  <a:pt x="4571" y="35051"/>
                </a:lnTo>
                <a:lnTo>
                  <a:pt x="7619" y="35051"/>
                </a:lnTo>
                <a:lnTo>
                  <a:pt x="7619" y="33527"/>
                </a:lnTo>
                <a:lnTo>
                  <a:pt x="9143" y="35051"/>
                </a:lnTo>
                <a:lnTo>
                  <a:pt x="9143" y="38023"/>
                </a:lnTo>
                <a:lnTo>
                  <a:pt x="33527" y="12420"/>
                </a:lnTo>
                <a:lnTo>
                  <a:pt x="33527" y="7619"/>
                </a:lnTo>
                <a:lnTo>
                  <a:pt x="35051" y="7619"/>
                </a:lnTo>
                <a:close/>
              </a:path>
              <a:path w="43179" h="43179">
                <a:moveTo>
                  <a:pt x="9143" y="38023"/>
                </a:moveTo>
                <a:lnTo>
                  <a:pt x="9143" y="35051"/>
                </a:lnTo>
                <a:lnTo>
                  <a:pt x="4571" y="35051"/>
                </a:lnTo>
                <a:lnTo>
                  <a:pt x="4571" y="41147"/>
                </a:lnTo>
                <a:lnTo>
                  <a:pt x="6095" y="42671"/>
                </a:lnTo>
                <a:lnTo>
                  <a:pt x="7619" y="42671"/>
                </a:lnTo>
                <a:lnTo>
                  <a:pt x="7619" y="39623"/>
                </a:lnTo>
                <a:lnTo>
                  <a:pt x="9143" y="38023"/>
                </a:lnTo>
                <a:close/>
              </a:path>
              <a:path w="43179" h="43179">
                <a:moveTo>
                  <a:pt x="9143" y="35051"/>
                </a:moveTo>
                <a:lnTo>
                  <a:pt x="7619" y="33527"/>
                </a:lnTo>
                <a:lnTo>
                  <a:pt x="7619" y="35051"/>
                </a:lnTo>
                <a:lnTo>
                  <a:pt x="9143" y="35051"/>
                </a:lnTo>
                <a:close/>
              </a:path>
              <a:path w="43179" h="43179">
                <a:moveTo>
                  <a:pt x="38099" y="13570"/>
                </a:moveTo>
                <a:lnTo>
                  <a:pt x="38099" y="7619"/>
                </a:lnTo>
                <a:lnTo>
                  <a:pt x="7619" y="39623"/>
                </a:lnTo>
                <a:lnTo>
                  <a:pt x="7619" y="42671"/>
                </a:lnTo>
                <a:lnTo>
                  <a:pt x="9143" y="41147"/>
                </a:lnTo>
                <a:lnTo>
                  <a:pt x="38099" y="13570"/>
                </a:lnTo>
                <a:close/>
              </a:path>
              <a:path w="43179" h="43179">
                <a:moveTo>
                  <a:pt x="38099" y="7619"/>
                </a:moveTo>
                <a:lnTo>
                  <a:pt x="33527" y="7619"/>
                </a:lnTo>
                <a:lnTo>
                  <a:pt x="35051" y="10667"/>
                </a:lnTo>
                <a:lnTo>
                  <a:pt x="35051" y="10820"/>
                </a:lnTo>
                <a:lnTo>
                  <a:pt x="38099" y="7619"/>
                </a:lnTo>
                <a:close/>
              </a:path>
              <a:path w="43179" h="43179">
                <a:moveTo>
                  <a:pt x="35051" y="10820"/>
                </a:moveTo>
                <a:lnTo>
                  <a:pt x="35051" y="10667"/>
                </a:lnTo>
                <a:lnTo>
                  <a:pt x="33527" y="7619"/>
                </a:lnTo>
                <a:lnTo>
                  <a:pt x="33527" y="12420"/>
                </a:lnTo>
                <a:lnTo>
                  <a:pt x="35051" y="108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6457806" y="3616286"/>
            <a:ext cx="40144" cy="40144"/>
          </a:xfrm>
          <a:custGeom>
            <a:avLst/>
            <a:gdLst/>
            <a:ahLst/>
            <a:cxnLst/>
            <a:rect l="l" t="t" r="r" b="b"/>
            <a:pathLst>
              <a:path w="33654" h="33654">
                <a:moveTo>
                  <a:pt x="33527" y="32003"/>
                </a:moveTo>
                <a:lnTo>
                  <a:pt x="1523" y="0"/>
                </a:lnTo>
                <a:lnTo>
                  <a:pt x="0" y="1523"/>
                </a:lnTo>
                <a:lnTo>
                  <a:pt x="30479" y="33527"/>
                </a:lnTo>
                <a:lnTo>
                  <a:pt x="33527" y="320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6452350" y="3610830"/>
            <a:ext cx="51507" cy="51507"/>
          </a:xfrm>
          <a:custGeom>
            <a:avLst/>
            <a:gdLst/>
            <a:ahLst/>
            <a:cxnLst/>
            <a:rect l="l" t="t" r="r" b="b"/>
            <a:pathLst>
              <a:path w="43179" h="43179">
                <a:moveTo>
                  <a:pt x="42671" y="38099"/>
                </a:moveTo>
                <a:lnTo>
                  <a:pt x="42671" y="33527"/>
                </a:lnTo>
                <a:lnTo>
                  <a:pt x="41147" y="33527"/>
                </a:lnTo>
                <a:lnTo>
                  <a:pt x="7619" y="0"/>
                </a:lnTo>
                <a:lnTo>
                  <a:pt x="6095" y="0"/>
                </a:lnTo>
                <a:lnTo>
                  <a:pt x="4571" y="1523"/>
                </a:lnTo>
                <a:lnTo>
                  <a:pt x="1523" y="3047"/>
                </a:lnTo>
                <a:lnTo>
                  <a:pt x="0" y="4571"/>
                </a:lnTo>
                <a:lnTo>
                  <a:pt x="0" y="9143"/>
                </a:lnTo>
                <a:lnTo>
                  <a:pt x="1523" y="9143"/>
                </a:lnTo>
                <a:lnTo>
                  <a:pt x="3047" y="10667"/>
                </a:lnTo>
                <a:lnTo>
                  <a:pt x="3047" y="7619"/>
                </a:lnTo>
                <a:lnTo>
                  <a:pt x="6095" y="7619"/>
                </a:lnTo>
                <a:lnTo>
                  <a:pt x="6095" y="4571"/>
                </a:lnTo>
                <a:lnTo>
                  <a:pt x="38099" y="35051"/>
                </a:lnTo>
                <a:lnTo>
                  <a:pt x="38099" y="41147"/>
                </a:lnTo>
                <a:lnTo>
                  <a:pt x="41147" y="39623"/>
                </a:lnTo>
                <a:lnTo>
                  <a:pt x="41147" y="38099"/>
                </a:lnTo>
                <a:lnTo>
                  <a:pt x="42671" y="38099"/>
                </a:lnTo>
                <a:close/>
              </a:path>
              <a:path w="43179" h="43179">
                <a:moveTo>
                  <a:pt x="9143" y="7619"/>
                </a:moveTo>
                <a:lnTo>
                  <a:pt x="3047" y="7619"/>
                </a:lnTo>
                <a:lnTo>
                  <a:pt x="6095" y="10667"/>
                </a:lnTo>
                <a:lnTo>
                  <a:pt x="9143" y="7619"/>
                </a:lnTo>
                <a:close/>
              </a:path>
              <a:path w="43179" h="43179">
                <a:moveTo>
                  <a:pt x="35051" y="42671"/>
                </a:moveTo>
                <a:lnTo>
                  <a:pt x="35051" y="39623"/>
                </a:lnTo>
                <a:lnTo>
                  <a:pt x="3047" y="7619"/>
                </a:lnTo>
                <a:lnTo>
                  <a:pt x="3047" y="10667"/>
                </a:lnTo>
                <a:lnTo>
                  <a:pt x="35051" y="42671"/>
                </a:lnTo>
                <a:close/>
              </a:path>
              <a:path w="43179" h="43179">
                <a:moveTo>
                  <a:pt x="38099" y="35051"/>
                </a:moveTo>
                <a:lnTo>
                  <a:pt x="6095" y="4571"/>
                </a:lnTo>
                <a:lnTo>
                  <a:pt x="6095" y="7619"/>
                </a:lnTo>
                <a:lnTo>
                  <a:pt x="9143" y="7619"/>
                </a:lnTo>
                <a:lnTo>
                  <a:pt x="9143" y="13715"/>
                </a:lnTo>
                <a:lnTo>
                  <a:pt x="33527" y="38099"/>
                </a:lnTo>
                <a:lnTo>
                  <a:pt x="33527" y="35051"/>
                </a:lnTo>
                <a:lnTo>
                  <a:pt x="35051" y="33527"/>
                </a:lnTo>
                <a:lnTo>
                  <a:pt x="35051" y="35051"/>
                </a:lnTo>
                <a:lnTo>
                  <a:pt x="38099" y="35051"/>
                </a:lnTo>
                <a:close/>
              </a:path>
              <a:path w="43179" h="43179">
                <a:moveTo>
                  <a:pt x="9143" y="13715"/>
                </a:moveTo>
                <a:lnTo>
                  <a:pt x="9143" y="7619"/>
                </a:lnTo>
                <a:lnTo>
                  <a:pt x="6095" y="10667"/>
                </a:lnTo>
                <a:lnTo>
                  <a:pt x="9143" y="13715"/>
                </a:lnTo>
                <a:close/>
              </a:path>
              <a:path w="43179" h="43179">
                <a:moveTo>
                  <a:pt x="35051" y="35051"/>
                </a:moveTo>
                <a:lnTo>
                  <a:pt x="35051" y="33527"/>
                </a:lnTo>
                <a:lnTo>
                  <a:pt x="33527" y="35051"/>
                </a:lnTo>
                <a:lnTo>
                  <a:pt x="35051" y="35051"/>
                </a:lnTo>
                <a:close/>
              </a:path>
              <a:path w="43179" h="43179">
                <a:moveTo>
                  <a:pt x="38099" y="41147"/>
                </a:moveTo>
                <a:lnTo>
                  <a:pt x="38099" y="35051"/>
                </a:lnTo>
                <a:lnTo>
                  <a:pt x="33527" y="35051"/>
                </a:lnTo>
                <a:lnTo>
                  <a:pt x="33527" y="38099"/>
                </a:lnTo>
                <a:lnTo>
                  <a:pt x="35051" y="39623"/>
                </a:lnTo>
                <a:lnTo>
                  <a:pt x="35051" y="42671"/>
                </a:lnTo>
                <a:lnTo>
                  <a:pt x="36575" y="42671"/>
                </a:lnTo>
                <a:lnTo>
                  <a:pt x="38099" y="411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6401450" y="3496304"/>
            <a:ext cx="33328" cy="33328"/>
          </a:xfrm>
          <a:custGeom>
            <a:avLst/>
            <a:gdLst/>
            <a:ahLst/>
            <a:cxnLst/>
            <a:rect l="l" t="t" r="r" b="b"/>
            <a:pathLst>
              <a:path w="27939" h="27939">
                <a:moveTo>
                  <a:pt x="27431" y="1523"/>
                </a:moveTo>
                <a:lnTo>
                  <a:pt x="25907" y="0"/>
                </a:lnTo>
                <a:lnTo>
                  <a:pt x="0" y="24383"/>
                </a:lnTo>
                <a:lnTo>
                  <a:pt x="1523" y="27431"/>
                </a:lnTo>
                <a:lnTo>
                  <a:pt x="27431" y="152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6395997" y="3490852"/>
            <a:ext cx="43932" cy="43932"/>
          </a:xfrm>
          <a:custGeom>
            <a:avLst/>
            <a:gdLst/>
            <a:ahLst/>
            <a:cxnLst/>
            <a:rect l="l" t="t" r="r" b="b"/>
            <a:pathLst>
              <a:path w="36829" h="36829">
                <a:moveTo>
                  <a:pt x="36575" y="7619"/>
                </a:moveTo>
                <a:lnTo>
                  <a:pt x="36575" y="6095"/>
                </a:lnTo>
                <a:lnTo>
                  <a:pt x="35051" y="4571"/>
                </a:lnTo>
                <a:lnTo>
                  <a:pt x="33527" y="1523"/>
                </a:lnTo>
                <a:lnTo>
                  <a:pt x="32003" y="0"/>
                </a:lnTo>
                <a:lnTo>
                  <a:pt x="27431" y="0"/>
                </a:lnTo>
                <a:lnTo>
                  <a:pt x="27431" y="1523"/>
                </a:lnTo>
                <a:lnTo>
                  <a:pt x="0" y="28955"/>
                </a:lnTo>
                <a:lnTo>
                  <a:pt x="0" y="30479"/>
                </a:lnTo>
                <a:lnTo>
                  <a:pt x="1523" y="32003"/>
                </a:lnTo>
                <a:lnTo>
                  <a:pt x="3047" y="35051"/>
                </a:lnTo>
                <a:lnTo>
                  <a:pt x="3047" y="28955"/>
                </a:lnTo>
                <a:lnTo>
                  <a:pt x="28955" y="3047"/>
                </a:lnTo>
                <a:lnTo>
                  <a:pt x="28955" y="6095"/>
                </a:lnTo>
                <a:lnTo>
                  <a:pt x="33527" y="6095"/>
                </a:lnTo>
                <a:lnTo>
                  <a:pt x="33527" y="10667"/>
                </a:lnTo>
                <a:lnTo>
                  <a:pt x="36575" y="7619"/>
                </a:lnTo>
                <a:close/>
              </a:path>
              <a:path w="36829" h="36829">
                <a:moveTo>
                  <a:pt x="28955" y="6095"/>
                </a:moveTo>
                <a:lnTo>
                  <a:pt x="28955" y="3047"/>
                </a:lnTo>
                <a:lnTo>
                  <a:pt x="3047" y="28955"/>
                </a:lnTo>
                <a:lnTo>
                  <a:pt x="7619" y="28955"/>
                </a:lnTo>
                <a:lnTo>
                  <a:pt x="7619" y="27431"/>
                </a:lnTo>
                <a:lnTo>
                  <a:pt x="9143" y="28955"/>
                </a:lnTo>
                <a:lnTo>
                  <a:pt x="9143" y="30479"/>
                </a:lnTo>
                <a:lnTo>
                  <a:pt x="27431" y="12191"/>
                </a:lnTo>
                <a:lnTo>
                  <a:pt x="27431" y="6095"/>
                </a:lnTo>
                <a:lnTo>
                  <a:pt x="28955" y="6095"/>
                </a:lnTo>
                <a:close/>
              </a:path>
              <a:path w="36829" h="36829">
                <a:moveTo>
                  <a:pt x="9143" y="30479"/>
                </a:moveTo>
                <a:lnTo>
                  <a:pt x="9143" y="28955"/>
                </a:lnTo>
                <a:lnTo>
                  <a:pt x="3047" y="28955"/>
                </a:lnTo>
                <a:lnTo>
                  <a:pt x="3047" y="35051"/>
                </a:lnTo>
                <a:lnTo>
                  <a:pt x="4571" y="36575"/>
                </a:lnTo>
                <a:lnTo>
                  <a:pt x="7619" y="36575"/>
                </a:lnTo>
                <a:lnTo>
                  <a:pt x="7619" y="32003"/>
                </a:lnTo>
                <a:lnTo>
                  <a:pt x="9143" y="30479"/>
                </a:lnTo>
                <a:close/>
              </a:path>
              <a:path w="36829" h="36829">
                <a:moveTo>
                  <a:pt x="9143" y="28955"/>
                </a:moveTo>
                <a:lnTo>
                  <a:pt x="7619" y="27431"/>
                </a:lnTo>
                <a:lnTo>
                  <a:pt x="7619" y="28955"/>
                </a:lnTo>
                <a:lnTo>
                  <a:pt x="9143" y="28955"/>
                </a:lnTo>
                <a:close/>
              </a:path>
              <a:path w="36829" h="36829">
                <a:moveTo>
                  <a:pt x="33527" y="10667"/>
                </a:moveTo>
                <a:lnTo>
                  <a:pt x="33527" y="6095"/>
                </a:lnTo>
                <a:lnTo>
                  <a:pt x="7619" y="32003"/>
                </a:lnTo>
                <a:lnTo>
                  <a:pt x="7619" y="35051"/>
                </a:lnTo>
                <a:lnTo>
                  <a:pt x="9143" y="35051"/>
                </a:lnTo>
                <a:lnTo>
                  <a:pt x="33527" y="10667"/>
                </a:lnTo>
                <a:close/>
              </a:path>
              <a:path w="36829" h="36829">
                <a:moveTo>
                  <a:pt x="33527" y="6095"/>
                </a:moveTo>
                <a:lnTo>
                  <a:pt x="27431" y="6095"/>
                </a:lnTo>
                <a:lnTo>
                  <a:pt x="28955" y="9143"/>
                </a:lnTo>
                <a:lnTo>
                  <a:pt x="28955" y="10667"/>
                </a:lnTo>
                <a:lnTo>
                  <a:pt x="33527" y="6095"/>
                </a:lnTo>
                <a:close/>
              </a:path>
              <a:path w="36829" h="36829">
                <a:moveTo>
                  <a:pt x="28955" y="10667"/>
                </a:moveTo>
                <a:lnTo>
                  <a:pt x="28955" y="9143"/>
                </a:lnTo>
                <a:lnTo>
                  <a:pt x="27431" y="6095"/>
                </a:lnTo>
                <a:lnTo>
                  <a:pt x="27431" y="12191"/>
                </a:lnTo>
                <a:lnTo>
                  <a:pt x="28955" y="106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6437809" y="3492668"/>
            <a:ext cx="33328" cy="18178"/>
          </a:xfrm>
          <a:custGeom>
            <a:avLst/>
            <a:gdLst/>
            <a:ahLst/>
            <a:cxnLst/>
            <a:rect l="l" t="t" r="r" b="b"/>
            <a:pathLst>
              <a:path w="27939" h="15239">
                <a:moveTo>
                  <a:pt x="27431" y="15239"/>
                </a:moveTo>
                <a:lnTo>
                  <a:pt x="27431" y="12191"/>
                </a:lnTo>
                <a:lnTo>
                  <a:pt x="3047" y="0"/>
                </a:lnTo>
                <a:lnTo>
                  <a:pt x="0" y="3047"/>
                </a:lnTo>
                <a:lnTo>
                  <a:pt x="27431" y="152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6434172" y="3487216"/>
            <a:ext cx="42417" cy="29540"/>
          </a:xfrm>
          <a:custGeom>
            <a:avLst/>
            <a:gdLst/>
            <a:ahLst/>
            <a:cxnLst/>
            <a:rect l="l" t="t" r="r" b="b"/>
            <a:pathLst>
              <a:path w="35560" h="24764">
                <a:moveTo>
                  <a:pt x="35051" y="18287"/>
                </a:moveTo>
                <a:lnTo>
                  <a:pt x="35051" y="15239"/>
                </a:lnTo>
                <a:lnTo>
                  <a:pt x="33527" y="13715"/>
                </a:lnTo>
                <a:lnTo>
                  <a:pt x="7619" y="0"/>
                </a:lnTo>
                <a:lnTo>
                  <a:pt x="3047" y="0"/>
                </a:lnTo>
                <a:lnTo>
                  <a:pt x="1523" y="1523"/>
                </a:lnTo>
                <a:lnTo>
                  <a:pt x="0" y="4571"/>
                </a:lnTo>
                <a:lnTo>
                  <a:pt x="0" y="10667"/>
                </a:lnTo>
                <a:lnTo>
                  <a:pt x="1523" y="10667"/>
                </a:lnTo>
                <a:lnTo>
                  <a:pt x="3047" y="11474"/>
                </a:lnTo>
                <a:lnTo>
                  <a:pt x="3047" y="7619"/>
                </a:lnTo>
                <a:lnTo>
                  <a:pt x="6095" y="6857"/>
                </a:lnTo>
                <a:lnTo>
                  <a:pt x="6095" y="3047"/>
                </a:lnTo>
                <a:lnTo>
                  <a:pt x="32003" y="16763"/>
                </a:lnTo>
                <a:lnTo>
                  <a:pt x="32003" y="24383"/>
                </a:lnTo>
                <a:lnTo>
                  <a:pt x="33527" y="22859"/>
                </a:lnTo>
                <a:lnTo>
                  <a:pt x="33527" y="21335"/>
                </a:lnTo>
                <a:lnTo>
                  <a:pt x="35051" y="18287"/>
                </a:lnTo>
                <a:close/>
              </a:path>
              <a:path w="35560" h="24764">
                <a:moveTo>
                  <a:pt x="9143" y="10847"/>
                </a:moveTo>
                <a:lnTo>
                  <a:pt x="9143" y="6095"/>
                </a:lnTo>
                <a:lnTo>
                  <a:pt x="7619" y="9143"/>
                </a:lnTo>
                <a:lnTo>
                  <a:pt x="6992" y="6633"/>
                </a:lnTo>
                <a:lnTo>
                  <a:pt x="3047" y="7619"/>
                </a:lnTo>
                <a:lnTo>
                  <a:pt x="9143" y="10847"/>
                </a:lnTo>
                <a:close/>
              </a:path>
              <a:path w="35560" h="24764">
                <a:moveTo>
                  <a:pt x="28955" y="24383"/>
                </a:moveTo>
                <a:lnTo>
                  <a:pt x="28955" y="21335"/>
                </a:lnTo>
                <a:lnTo>
                  <a:pt x="3047" y="7619"/>
                </a:lnTo>
                <a:lnTo>
                  <a:pt x="3047" y="11474"/>
                </a:lnTo>
                <a:lnTo>
                  <a:pt x="27431" y="24383"/>
                </a:lnTo>
                <a:lnTo>
                  <a:pt x="28955" y="24383"/>
                </a:lnTo>
                <a:close/>
              </a:path>
              <a:path w="35560" h="24764">
                <a:moveTo>
                  <a:pt x="32003" y="16763"/>
                </a:moveTo>
                <a:lnTo>
                  <a:pt x="6095" y="3047"/>
                </a:lnTo>
                <a:lnTo>
                  <a:pt x="6992" y="6633"/>
                </a:lnTo>
                <a:lnTo>
                  <a:pt x="9143" y="6095"/>
                </a:lnTo>
                <a:lnTo>
                  <a:pt x="9143" y="10847"/>
                </a:lnTo>
                <a:lnTo>
                  <a:pt x="25907" y="19722"/>
                </a:lnTo>
                <a:lnTo>
                  <a:pt x="25907" y="18287"/>
                </a:lnTo>
                <a:lnTo>
                  <a:pt x="27431" y="15239"/>
                </a:lnTo>
                <a:lnTo>
                  <a:pt x="28059" y="17750"/>
                </a:lnTo>
                <a:lnTo>
                  <a:pt x="32003" y="16763"/>
                </a:lnTo>
                <a:close/>
              </a:path>
              <a:path w="35560" h="24764">
                <a:moveTo>
                  <a:pt x="6992" y="6633"/>
                </a:moveTo>
                <a:lnTo>
                  <a:pt x="6095" y="3047"/>
                </a:lnTo>
                <a:lnTo>
                  <a:pt x="6095" y="6857"/>
                </a:lnTo>
                <a:lnTo>
                  <a:pt x="6992" y="6633"/>
                </a:lnTo>
                <a:close/>
              </a:path>
              <a:path w="35560" h="24764">
                <a:moveTo>
                  <a:pt x="9143" y="6095"/>
                </a:moveTo>
                <a:lnTo>
                  <a:pt x="6992" y="6633"/>
                </a:lnTo>
                <a:lnTo>
                  <a:pt x="7619" y="9143"/>
                </a:lnTo>
                <a:lnTo>
                  <a:pt x="9143" y="6095"/>
                </a:lnTo>
                <a:close/>
              </a:path>
              <a:path w="35560" h="24764">
                <a:moveTo>
                  <a:pt x="28059" y="17750"/>
                </a:moveTo>
                <a:lnTo>
                  <a:pt x="27431" y="15239"/>
                </a:lnTo>
                <a:lnTo>
                  <a:pt x="25907" y="18287"/>
                </a:lnTo>
                <a:lnTo>
                  <a:pt x="28059" y="17750"/>
                </a:lnTo>
                <a:close/>
              </a:path>
              <a:path w="35560" h="24764">
                <a:moveTo>
                  <a:pt x="28955" y="21335"/>
                </a:moveTo>
                <a:lnTo>
                  <a:pt x="28059" y="17750"/>
                </a:lnTo>
                <a:lnTo>
                  <a:pt x="25907" y="18287"/>
                </a:lnTo>
                <a:lnTo>
                  <a:pt x="25907" y="19722"/>
                </a:lnTo>
                <a:lnTo>
                  <a:pt x="28955" y="21335"/>
                </a:lnTo>
                <a:close/>
              </a:path>
              <a:path w="35560" h="24764">
                <a:moveTo>
                  <a:pt x="32003" y="24383"/>
                </a:moveTo>
                <a:lnTo>
                  <a:pt x="32003" y="16763"/>
                </a:lnTo>
                <a:lnTo>
                  <a:pt x="28059" y="17750"/>
                </a:lnTo>
                <a:lnTo>
                  <a:pt x="28955" y="21335"/>
                </a:lnTo>
                <a:lnTo>
                  <a:pt x="28955" y="24383"/>
                </a:lnTo>
                <a:lnTo>
                  <a:pt x="32003" y="243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6472349" y="3470854"/>
            <a:ext cx="27268" cy="38628"/>
          </a:xfrm>
          <a:custGeom>
            <a:avLst/>
            <a:gdLst/>
            <a:ahLst/>
            <a:cxnLst/>
            <a:rect l="l" t="t" r="r" b="b"/>
            <a:pathLst>
              <a:path w="22860" h="32385">
                <a:moveTo>
                  <a:pt x="22859" y="1523"/>
                </a:moveTo>
                <a:lnTo>
                  <a:pt x="19811" y="0"/>
                </a:lnTo>
                <a:lnTo>
                  <a:pt x="0" y="30479"/>
                </a:lnTo>
                <a:lnTo>
                  <a:pt x="1523" y="32003"/>
                </a:lnTo>
                <a:lnTo>
                  <a:pt x="22859" y="152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6466894" y="3465401"/>
            <a:ext cx="38628" cy="49234"/>
          </a:xfrm>
          <a:custGeom>
            <a:avLst/>
            <a:gdLst/>
            <a:ahLst/>
            <a:cxnLst/>
            <a:rect l="l" t="t" r="r" b="b"/>
            <a:pathLst>
              <a:path w="32385" h="41275">
                <a:moveTo>
                  <a:pt x="32003" y="7619"/>
                </a:moveTo>
                <a:lnTo>
                  <a:pt x="32003" y="6095"/>
                </a:lnTo>
                <a:lnTo>
                  <a:pt x="30479" y="4571"/>
                </a:lnTo>
                <a:lnTo>
                  <a:pt x="30479" y="3047"/>
                </a:lnTo>
                <a:lnTo>
                  <a:pt x="28955" y="3047"/>
                </a:lnTo>
                <a:lnTo>
                  <a:pt x="25907" y="1523"/>
                </a:lnTo>
                <a:lnTo>
                  <a:pt x="24383" y="0"/>
                </a:lnTo>
                <a:lnTo>
                  <a:pt x="22859" y="0"/>
                </a:lnTo>
                <a:lnTo>
                  <a:pt x="21335" y="3047"/>
                </a:lnTo>
                <a:lnTo>
                  <a:pt x="1523" y="32003"/>
                </a:lnTo>
                <a:lnTo>
                  <a:pt x="0" y="35051"/>
                </a:lnTo>
                <a:lnTo>
                  <a:pt x="0" y="36575"/>
                </a:lnTo>
                <a:lnTo>
                  <a:pt x="1523" y="38099"/>
                </a:lnTo>
                <a:lnTo>
                  <a:pt x="3047" y="38861"/>
                </a:lnTo>
                <a:lnTo>
                  <a:pt x="3047" y="35051"/>
                </a:lnTo>
                <a:lnTo>
                  <a:pt x="24383" y="4571"/>
                </a:lnTo>
                <a:lnTo>
                  <a:pt x="25145" y="7619"/>
                </a:lnTo>
                <a:lnTo>
                  <a:pt x="27431" y="7619"/>
                </a:lnTo>
                <a:lnTo>
                  <a:pt x="27431" y="13833"/>
                </a:lnTo>
                <a:lnTo>
                  <a:pt x="30479" y="9143"/>
                </a:lnTo>
                <a:lnTo>
                  <a:pt x="32003" y="7619"/>
                </a:lnTo>
                <a:close/>
              </a:path>
              <a:path w="32385" h="41275">
                <a:moveTo>
                  <a:pt x="25145" y="7619"/>
                </a:moveTo>
                <a:lnTo>
                  <a:pt x="24383" y="4571"/>
                </a:lnTo>
                <a:lnTo>
                  <a:pt x="3047" y="35051"/>
                </a:lnTo>
                <a:lnTo>
                  <a:pt x="6095" y="34289"/>
                </a:lnTo>
                <a:lnTo>
                  <a:pt x="6095" y="32003"/>
                </a:lnTo>
                <a:lnTo>
                  <a:pt x="9143" y="33527"/>
                </a:lnTo>
                <a:lnTo>
                  <a:pt x="9143" y="34348"/>
                </a:lnTo>
                <a:lnTo>
                  <a:pt x="22859" y="14302"/>
                </a:lnTo>
                <a:lnTo>
                  <a:pt x="22859" y="7619"/>
                </a:lnTo>
                <a:lnTo>
                  <a:pt x="25145" y="7619"/>
                </a:lnTo>
                <a:close/>
              </a:path>
              <a:path w="32385" h="41275">
                <a:moveTo>
                  <a:pt x="25907" y="16177"/>
                </a:moveTo>
                <a:lnTo>
                  <a:pt x="25907" y="10667"/>
                </a:lnTo>
                <a:lnTo>
                  <a:pt x="25574" y="10334"/>
                </a:lnTo>
                <a:lnTo>
                  <a:pt x="7619" y="36575"/>
                </a:lnTo>
                <a:lnTo>
                  <a:pt x="6799" y="34114"/>
                </a:lnTo>
                <a:lnTo>
                  <a:pt x="3047" y="35051"/>
                </a:lnTo>
                <a:lnTo>
                  <a:pt x="3047" y="38861"/>
                </a:lnTo>
                <a:lnTo>
                  <a:pt x="4571" y="39623"/>
                </a:lnTo>
                <a:lnTo>
                  <a:pt x="6095" y="41147"/>
                </a:lnTo>
                <a:lnTo>
                  <a:pt x="9143" y="41147"/>
                </a:lnTo>
                <a:lnTo>
                  <a:pt x="9143" y="39623"/>
                </a:lnTo>
                <a:lnTo>
                  <a:pt x="10667" y="39623"/>
                </a:lnTo>
                <a:lnTo>
                  <a:pt x="25907" y="16177"/>
                </a:lnTo>
                <a:close/>
              </a:path>
              <a:path w="32385" h="41275">
                <a:moveTo>
                  <a:pt x="9143" y="33527"/>
                </a:moveTo>
                <a:lnTo>
                  <a:pt x="6095" y="32003"/>
                </a:lnTo>
                <a:lnTo>
                  <a:pt x="6799" y="34114"/>
                </a:lnTo>
                <a:lnTo>
                  <a:pt x="9143" y="33527"/>
                </a:lnTo>
                <a:close/>
              </a:path>
              <a:path w="32385" h="41275">
                <a:moveTo>
                  <a:pt x="6799" y="34114"/>
                </a:moveTo>
                <a:lnTo>
                  <a:pt x="6095" y="32003"/>
                </a:lnTo>
                <a:lnTo>
                  <a:pt x="6095" y="34289"/>
                </a:lnTo>
                <a:lnTo>
                  <a:pt x="6799" y="34114"/>
                </a:lnTo>
                <a:close/>
              </a:path>
              <a:path w="32385" h="41275">
                <a:moveTo>
                  <a:pt x="9143" y="34348"/>
                </a:moveTo>
                <a:lnTo>
                  <a:pt x="9143" y="33527"/>
                </a:lnTo>
                <a:lnTo>
                  <a:pt x="6799" y="34114"/>
                </a:lnTo>
                <a:lnTo>
                  <a:pt x="7619" y="36575"/>
                </a:lnTo>
                <a:lnTo>
                  <a:pt x="9143" y="34348"/>
                </a:lnTo>
                <a:close/>
              </a:path>
              <a:path w="32385" h="41275">
                <a:moveTo>
                  <a:pt x="25757" y="10066"/>
                </a:moveTo>
                <a:lnTo>
                  <a:pt x="25145" y="7619"/>
                </a:lnTo>
                <a:lnTo>
                  <a:pt x="22859" y="7619"/>
                </a:lnTo>
                <a:lnTo>
                  <a:pt x="25574" y="10334"/>
                </a:lnTo>
                <a:lnTo>
                  <a:pt x="25757" y="10066"/>
                </a:lnTo>
                <a:close/>
              </a:path>
              <a:path w="32385" h="41275">
                <a:moveTo>
                  <a:pt x="25574" y="10334"/>
                </a:moveTo>
                <a:lnTo>
                  <a:pt x="22859" y="7619"/>
                </a:lnTo>
                <a:lnTo>
                  <a:pt x="22859" y="14302"/>
                </a:lnTo>
                <a:lnTo>
                  <a:pt x="25574" y="10334"/>
                </a:lnTo>
                <a:close/>
              </a:path>
              <a:path w="32385" h="41275">
                <a:moveTo>
                  <a:pt x="27431" y="7619"/>
                </a:moveTo>
                <a:lnTo>
                  <a:pt x="25145" y="7619"/>
                </a:lnTo>
                <a:lnTo>
                  <a:pt x="25757" y="10066"/>
                </a:lnTo>
                <a:lnTo>
                  <a:pt x="27431" y="7619"/>
                </a:lnTo>
                <a:close/>
              </a:path>
              <a:path w="32385" h="41275">
                <a:moveTo>
                  <a:pt x="25907" y="10667"/>
                </a:moveTo>
                <a:lnTo>
                  <a:pt x="25757" y="10066"/>
                </a:lnTo>
                <a:lnTo>
                  <a:pt x="25574" y="10334"/>
                </a:lnTo>
                <a:lnTo>
                  <a:pt x="25907" y="10667"/>
                </a:lnTo>
                <a:close/>
              </a:path>
              <a:path w="32385" h="41275">
                <a:moveTo>
                  <a:pt x="27431" y="13833"/>
                </a:moveTo>
                <a:lnTo>
                  <a:pt x="27431" y="7619"/>
                </a:lnTo>
                <a:lnTo>
                  <a:pt x="25757" y="10066"/>
                </a:lnTo>
                <a:lnTo>
                  <a:pt x="25907" y="10667"/>
                </a:lnTo>
                <a:lnTo>
                  <a:pt x="25907" y="16177"/>
                </a:lnTo>
                <a:lnTo>
                  <a:pt x="27431" y="1383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6495981" y="3478127"/>
            <a:ext cx="29540" cy="31054"/>
          </a:xfrm>
          <a:custGeom>
            <a:avLst/>
            <a:gdLst/>
            <a:ahLst/>
            <a:cxnLst/>
            <a:rect l="l" t="t" r="r" b="b"/>
            <a:pathLst>
              <a:path w="24764" h="26035">
                <a:moveTo>
                  <a:pt x="24383" y="24383"/>
                </a:moveTo>
                <a:lnTo>
                  <a:pt x="3047" y="0"/>
                </a:lnTo>
                <a:lnTo>
                  <a:pt x="0" y="1523"/>
                </a:lnTo>
                <a:lnTo>
                  <a:pt x="21335" y="25907"/>
                </a:lnTo>
                <a:lnTo>
                  <a:pt x="24383" y="243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6490528" y="3472672"/>
            <a:ext cx="40144" cy="42417"/>
          </a:xfrm>
          <a:custGeom>
            <a:avLst/>
            <a:gdLst/>
            <a:ahLst/>
            <a:cxnLst/>
            <a:rect l="l" t="t" r="r" b="b"/>
            <a:pathLst>
              <a:path w="33654" h="35560">
                <a:moveTo>
                  <a:pt x="32003" y="32003"/>
                </a:moveTo>
                <a:lnTo>
                  <a:pt x="32003" y="25907"/>
                </a:lnTo>
                <a:lnTo>
                  <a:pt x="9143" y="1523"/>
                </a:lnTo>
                <a:lnTo>
                  <a:pt x="9143" y="0"/>
                </a:lnTo>
                <a:lnTo>
                  <a:pt x="6095" y="0"/>
                </a:lnTo>
                <a:lnTo>
                  <a:pt x="4571" y="1523"/>
                </a:lnTo>
                <a:lnTo>
                  <a:pt x="1523" y="3047"/>
                </a:lnTo>
                <a:lnTo>
                  <a:pt x="1523" y="4571"/>
                </a:lnTo>
                <a:lnTo>
                  <a:pt x="0" y="4571"/>
                </a:lnTo>
                <a:lnTo>
                  <a:pt x="0" y="7619"/>
                </a:lnTo>
                <a:lnTo>
                  <a:pt x="1523" y="9143"/>
                </a:lnTo>
                <a:lnTo>
                  <a:pt x="4571" y="12627"/>
                </a:lnTo>
                <a:lnTo>
                  <a:pt x="4571" y="7619"/>
                </a:lnTo>
                <a:lnTo>
                  <a:pt x="7619" y="7619"/>
                </a:lnTo>
                <a:lnTo>
                  <a:pt x="7619" y="4571"/>
                </a:lnTo>
                <a:lnTo>
                  <a:pt x="26636" y="26305"/>
                </a:lnTo>
                <a:lnTo>
                  <a:pt x="27431" y="25907"/>
                </a:lnTo>
                <a:lnTo>
                  <a:pt x="27431" y="27214"/>
                </a:lnTo>
                <a:lnTo>
                  <a:pt x="28955" y="28955"/>
                </a:lnTo>
                <a:lnTo>
                  <a:pt x="28955" y="34289"/>
                </a:lnTo>
                <a:lnTo>
                  <a:pt x="30479" y="33527"/>
                </a:lnTo>
                <a:lnTo>
                  <a:pt x="32003" y="32003"/>
                </a:lnTo>
                <a:close/>
              </a:path>
              <a:path w="33654" h="35560">
                <a:moveTo>
                  <a:pt x="9143" y="7619"/>
                </a:moveTo>
                <a:lnTo>
                  <a:pt x="4571" y="7619"/>
                </a:lnTo>
                <a:lnTo>
                  <a:pt x="7619" y="11103"/>
                </a:lnTo>
                <a:lnTo>
                  <a:pt x="7619" y="10667"/>
                </a:lnTo>
                <a:lnTo>
                  <a:pt x="9143" y="7619"/>
                </a:lnTo>
                <a:close/>
              </a:path>
              <a:path w="33654" h="35560">
                <a:moveTo>
                  <a:pt x="28955" y="34289"/>
                </a:moveTo>
                <a:lnTo>
                  <a:pt x="28955" y="28955"/>
                </a:lnTo>
                <a:lnTo>
                  <a:pt x="26845" y="28252"/>
                </a:lnTo>
                <a:lnTo>
                  <a:pt x="25907" y="32003"/>
                </a:lnTo>
                <a:lnTo>
                  <a:pt x="4571" y="7619"/>
                </a:lnTo>
                <a:lnTo>
                  <a:pt x="4571" y="12627"/>
                </a:lnTo>
                <a:lnTo>
                  <a:pt x="22859" y="33527"/>
                </a:lnTo>
                <a:lnTo>
                  <a:pt x="24383" y="35051"/>
                </a:lnTo>
                <a:lnTo>
                  <a:pt x="27431" y="35051"/>
                </a:lnTo>
                <a:lnTo>
                  <a:pt x="28955" y="34289"/>
                </a:lnTo>
                <a:close/>
              </a:path>
              <a:path w="33654" h="35560">
                <a:moveTo>
                  <a:pt x="26636" y="26305"/>
                </a:moveTo>
                <a:lnTo>
                  <a:pt x="7619" y="4571"/>
                </a:lnTo>
                <a:lnTo>
                  <a:pt x="7619" y="7619"/>
                </a:lnTo>
                <a:lnTo>
                  <a:pt x="9143" y="7619"/>
                </a:lnTo>
                <a:lnTo>
                  <a:pt x="9143" y="12845"/>
                </a:lnTo>
                <a:lnTo>
                  <a:pt x="24383" y="30262"/>
                </a:lnTo>
                <a:lnTo>
                  <a:pt x="24383" y="27431"/>
                </a:lnTo>
                <a:lnTo>
                  <a:pt x="26636" y="26305"/>
                </a:lnTo>
                <a:close/>
              </a:path>
              <a:path w="33654" h="35560">
                <a:moveTo>
                  <a:pt x="9143" y="12845"/>
                </a:moveTo>
                <a:lnTo>
                  <a:pt x="9143" y="7619"/>
                </a:lnTo>
                <a:lnTo>
                  <a:pt x="7619" y="10667"/>
                </a:lnTo>
                <a:lnTo>
                  <a:pt x="7619" y="11103"/>
                </a:lnTo>
                <a:lnTo>
                  <a:pt x="9143" y="12845"/>
                </a:lnTo>
                <a:close/>
              </a:path>
              <a:path w="33654" h="35560">
                <a:moveTo>
                  <a:pt x="27177" y="26923"/>
                </a:moveTo>
                <a:lnTo>
                  <a:pt x="26636" y="26305"/>
                </a:lnTo>
                <a:lnTo>
                  <a:pt x="24383" y="27431"/>
                </a:lnTo>
                <a:lnTo>
                  <a:pt x="26845" y="28252"/>
                </a:lnTo>
                <a:lnTo>
                  <a:pt x="27177" y="26923"/>
                </a:lnTo>
                <a:close/>
              </a:path>
              <a:path w="33654" h="35560">
                <a:moveTo>
                  <a:pt x="26845" y="28252"/>
                </a:moveTo>
                <a:lnTo>
                  <a:pt x="24383" y="27431"/>
                </a:lnTo>
                <a:lnTo>
                  <a:pt x="24383" y="30262"/>
                </a:lnTo>
                <a:lnTo>
                  <a:pt x="25907" y="32003"/>
                </a:lnTo>
                <a:lnTo>
                  <a:pt x="26845" y="28252"/>
                </a:lnTo>
                <a:close/>
              </a:path>
              <a:path w="33654" h="35560">
                <a:moveTo>
                  <a:pt x="27431" y="25907"/>
                </a:moveTo>
                <a:lnTo>
                  <a:pt x="26636" y="26305"/>
                </a:lnTo>
                <a:lnTo>
                  <a:pt x="27177" y="26923"/>
                </a:lnTo>
                <a:lnTo>
                  <a:pt x="27431" y="25907"/>
                </a:lnTo>
                <a:close/>
              </a:path>
              <a:path w="33654" h="35560">
                <a:moveTo>
                  <a:pt x="28955" y="28955"/>
                </a:moveTo>
                <a:lnTo>
                  <a:pt x="27177" y="26923"/>
                </a:lnTo>
                <a:lnTo>
                  <a:pt x="26845" y="28252"/>
                </a:lnTo>
                <a:lnTo>
                  <a:pt x="28955" y="28955"/>
                </a:lnTo>
                <a:close/>
              </a:path>
              <a:path w="33654" h="35560">
                <a:moveTo>
                  <a:pt x="27431" y="27214"/>
                </a:moveTo>
                <a:lnTo>
                  <a:pt x="27431" y="25907"/>
                </a:lnTo>
                <a:lnTo>
                  <a:pt x="27177" y="26923"/>
                </a:lnTo>
                <a:lnTo>
                  <a:pt x="27431" y="27214"/>
                </a:lnTo>
                <a:close/>
              </a:path>
              <a:path w="33654" h="35560">
                <a:moveTo>
                  <a:pt x="33527" y="30479"/>
                </a:moveTo>
                <a:lnTo>
                  <a:pt x="33527" y="28955"/>
                </a:lnTo>
                <a:lnTo>
                  <a:pt x="32003" y="27431"/>
                </a:lnTo>
                <a:lnTo>
                  <a:pt x="32003" y="30479"/>
                </a:lnTo>
                <a:lnTo>
                  <a:pt x="33527" y="304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6392363" y="3523575"/>
            <a:ext cx="12876" cy="12876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667" y="9143"/>
                </a:moveTo>
                <a:lnTo>
                  <a:pt x="10667" y="3047"/>
                </a:lnTo>
                <a:lnTo>
                  <a:pt x="9143" y="0"/>
                </a:lnTo>
                <a:lnTo>
                  <a:pt x="1523" y="0"/>
                </a:lnTo>
                <a:lnTo>
                  <a:pt x="0" y="3047"/>
                </a:lnTo>
                <a:lnTo>
                  <a:pt x="0" y="9143"/>
                </a:lnTo>
                <a:lnTo>
                  <a:pt x="1523" y="10667"/>
                </a:lnTo>
                <a:lnTo>
                  <a:pt x="9143" y="10667"/>
                </a:lnTo>
                <a:lnTo>
                  <a:pt x="10667" y="91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6386908" y="3518120"/>
            <a:ext cx="24238" cy="24238"/>
          </a:xfrm>
          <a:custGeom>
            <a:avLst/>
            <a:gdLst/>
            <a:ahLst/>
            <a:cxnLst/>
            <a:rect l="l" t="t" r="r" b="b"/>
            <a:pathLst>
              <a:path w="20320" h="20320">
                <a:moveTo>
                  <a:pt x="1523" y="13715"/>
                </a:moveTo>
                <a:lnTo>
                  <a:pt x="1523" y="7619"/>
                </a:lnTo>
                <a:lnTo>
                  <a:pt x="0" y="9143"/>
                </a:lnTo>
                <a:lnTo>
                  <a:pt x="0" y="10667"/>
                </a:lnTo>
                <a:lnTo>
                  <a:pt x="1523" y="13715"/>
                </a:lnTo>
                <a:close/>
              </a:path>
              <a:path w="20320" h="20320">
                <a:moveTo>
                  <a:pt x="19811" y="13715"/>
                </a:moveTo>
                <a:lnTo>
                  <a:pt x="19811" y="7619"/>
                </a:lnTo>
                <a:lnTo>
                  <a:pt x="16763" y="4571"/>
                </a:lnTo>
                <a:lnTo>
                  <a:pt x="16763" y="3047"/>
                </a:lnTo>
                <a:lnTo>
                  <a:pt x="10667" y="0"/>
                </a:lnTo>
                <a:lnTo>
                  <a:pt x="9143" y="0"/>
                </a:lnTo>
                <a:lnTo>
                  <a:pt x="7619" y="1523"/>
                </a:lnTo>
                <a:lnTo>
                  <a:pt x="6095" y="1523"/>
                </a:lnTo>
                <a:lnTo>
                  <a:pt x="3047" y="3047"/>
                </a:lnTo>
                <a:lnTo>
                  <a:pt x="3047" y="4571"/>
                </a:lnTo>
                <a:lnTo>
                  <a:pt x="1523" y="6095"/>
                </a:lnTo>
                <a:lnTo>
                  <a:pt x="1523" y="15239"/>
                </a:lnTo>
                <a:lnTo>
                  <a:pt x="3047" y="16763"/>
                </a:lnTo>
                <a:lnTo>
                  <a:pt x="6095" y="18287"/>
                </a:lnTo>
                <a:lnTo>
                  <a:pt x="7619" y="19811"/>
                </a:lnTo>
                <a:lnTo>
                  <a:pt x="7619" y="9143"/>
                </a:lnTo>
                <a:lnTo>
                  <a:pt x="9143" y="8381"/>
                </a:lnTo>
                <a:lnTo>
                  <a:pt x="9143" y="7619"/>
                </a:lnTo>
                <a:lnTo>
                  <a:pt x="9905" y="8000"/>
                </a:lnTo>
                <a:lnTo>
                  <a:pt x="10667" y="7619"/>
                </a:lnTo>
                <a:lnTo>
                  <a:pt x="10667" y="8381"/>
                </a:lnTo>
                <a:lnTo>
                  <a:pt x="12191" y="9143"/>
                </a:lnTo>
                <a:lnTo>
                  <a:pt x="12191" y="19811"/>
                </a:lnTo>
                <a:lnTo>
                  <a:pt x="13715" y="19811"/>
                </a:lnTo>
                <a:lnTo>
                  <a:pt x="13715" y="18287"/>
                </a:lnTo>
                <a:lnTo>
                  <a:pt x="16763" y="16763"/>
                </a:lnTo>
                <a:lnTo>
                  <a:pt x="18287" y="15239"/>
                </a:lnTo>
                <a:lnTo>
                  <a:pt x="18287" y="13715"/>
                </a:lnTo>
                <a:lnTo>
                  <a:pt x="19811" y="13715"/>
                </a:lnTo>
                <a:close/>
              </a:path>
              <a:path w="20320" h="20320">
                <a:moveTo>
                  <a:pt x="9143" y="9143"/>
                </a:moveTo>
                <a:lnTo>
                  <a:pt x="7619" y="9143"/>
                </a:lnTo>
                <a:lnTo>
                  <a:pt x="8381" y="9905"/>
                </a:lnTo>
                <a:lnTo>
                  <a:pt x="9143" y="9143"/>
                </a:lnTo>
                <a:close/>
              </a:path>
              <a:path w="20320" h="20320">
                <a:moveTo>
                  <a:pt x="8381" y="9905"/>
                </a:moveTo>
                <a:lnTo>
                  <a:pt x="7619" y="9143"/>
                </a:lnTo>
                <a:lnTo>
                  <a:pt x="7619" y="10667"/>
                </a:lnTo>
                <a:lnTo>
                  <a:pt x="8381" y="9905"/>
                </a:lnTo>
                <a:close/>
              </a:path>
              <a:path w="20320" h="20320">
                <a:moveTo>
                  <a:pt x="9143" y="10667"/>
                </a:moveTo>
                <a:lnTo>
                  <a:pt x="8381" y="9905"/>
                </a:lnTo>
                <a:lnTo>
                  <a:pt x="7619" y="10667"/>
                </a:lnTo>
                <a:lnTo>
                  <a:pt x="9143" y="10667"/>
                </a:lnTo>
                <a:close/>
              </a:path>
              <a:path w="20320" h="20320">
                <a:moveTo>
                  <a:pt x="12191" y="19811"/>
                </a:moveTo>
                <a:lnTo>
                  <a:pt x="12191" y="10667"/>
                </a:lnTo>
                <a:lnTo>
                  <a:pt x="10667" y="12191"/>
                </a:lnTo>
                <a:lnTo>
                  <a:pt x="9143" y="12191"/>
                </a:lnTo>
                <a:lnTo>
                  <a:pt x="7619" y="10667"/>
                </a:lnTo>
                <a:lnTo>
                  <a:pt x="7619" y="19811"/>
                </a:lnTo>
                <a:lnTo>
                  <a:pt x="12191" y="19811"/>
                </a:lnTo>
                <a:close/>
              </a:path>
              <a:path w="20320" h="20320">
                <a:moveTo>
                  <a:pt x="9651" y="8127"/>
                </a:moveTo>
                <a:lnTo>
                  <a:pt x="9143" y="7619"/>
                </a:lnTo>
                <a:lnTo>
                  <a:pt x="9143" y="8381"/>
                </a:lnTo>
                <a:lnTo>
                  <a:pt x="9651" y="8127"/>
                </a:lnTo>
                <a:close/>
              </a:path>
              <a:path w="20320" h="20320">
                <a:moveTo>
                  <a:pt x="10667" y="9143"/>
                </a:moveTo>
                <a:lnTo>
                  <a:pt x="9905" y="8381"/>
                </a:lnTo>
                <a:lnTo>
                  <a:pt x="9143" y="9143"/>
                </a:lnTo>
                <a:lnTo>
                  <a:pt x="10667" y="9143"/>
                </a:lnTo>
                <a:close/>
              </a:path>
              <a:path w="20320" h="20320">
                <a:moveTo>
                  <a:pt x="9905" y="11429"/>
                </a:moveTo>
                <a:lnTo>
                  <a:pt x="9143" y="10667"/>
                </a:lnTo>
                <a:lnTo>
                  <a:pt x="9143" y="12191"/>
                </a:lnTo>
                <a:lnTo>
                  <a:pt x="9905" y="11429"/>
                </a:lnTo>
                <a:close/>
              </a:path>
              <a:path w="20320" h="20320">
                <a:moveTo>
                  <a:pt x="10667" y="12191"/>
                </a:moveTo>
                <a:lnTo>
                  <a:pt x="9905" y="11429"/>
                </a:lnTo>
                <a:lnTo>
                  <a:pt x="9143" y="12191"/>
                </a:lnTo>
                <a:lnTo>
                  <a:pt x="10667" y="12191"/>
                </a:lnTo>
                <a:close/>
              </a:path>
              <a:path w="20320" h="20320">
                <a:moveTo>
                  <a:pt x="10159" y="8127"/>
                </a:moveTo>
                <a:lnTo>
                  <a:pt x="9905" y="8000"/>
                </a:lnTo>
                <a:lnTo>
                  <a:pt x="9651" y="8127"/>
                </a:lnTo>
                <a:lnTo>
                  <a:pt x="9905" y="8381"/>
                </a:lnTo>
                <a:lnTo>
                  <a:pt x="10159" y="8127"/>
                </a:lnTo>
                <a:close/>
              </a:path>
              <a:path w="20320" h="20320">
                <a:moveTo>
                  <a:pt x="10667" y="12191"/>
                </a:moveTo>
                <a:lnTo>
                  <a:pt x="10667" y="10667"/>
                </a:lnTo>
                <a:lnTo>
                  <a:pt x="9905" y="11429"/>
                </a:lnTo>
                <a:lnTo>
                  <a:pt x="10667" y="12191"/>
                </a:lnTo>
                <a:close/>
              </a:path>
              <a:path w="20320" h="20320">
                <a:moveTo>
                  <a:pt x="10667" y="8381"/>
                </a:moveTo>
                <a:lnTo>
                  <a:pt x="10667" y="7619"/>
                </a:lnTo>
                <a:lnTo>
                  <a:pt x="10159" y="8127"/>
                </a:lnTo>
                <a:lnTo>
                  <a:pt x="10667" y="8381"/>
                </a:lnTo>
                <a:close/>
              </a:path>
              <a:path w="20320" h="20320">
                <a:moveTo>
                  <a:pt x="12191" y="9143"/>
                </a:moveTo>
                <a:lnTo>
                  <a:pt x="10667" y="9143"/>
                </a:lnTo>
                <a:lnTo>
                  <a:pt x="11429" y="9905"/>
                </a:lnTo>
                <a:lnTo>
                  <a:pt x="12191" y="9143"/>
                </a:lnTo>
                <a:close/>
              </a:path>
              <a:path w="20320" h="20320">
                <a:moveTo>
                  <a:pt x="12191" y="10667"/>
                </a:moveTo>
                <a:lnTo>
                  <a:pt x="11429" y="9905"/>
                </a:lnTo>
                <a:lnTo>
                  <a:pt x="10667" y="10667"/>
                </a:lnTo>
                <a:lnTo>
                  <a:pt x="12191" y="10667"/>
                </a:lnTo>
                <a:close/>
              </a:path>
              <a:path w="20320" h="20320">
                <a:moveTo>
                  <a:pt x="12191" y="10667"/>
                </a:moveTo>
                <a:lnTo>
                  <a:pt x="12191" y="9143"/>
                </a:lnTo>
                <a:lnTo>
                  <a:pt x="11429" y="9905"/>
                </a:lnTo>
                <a:lnTo>
                  <a:pt x="12191" y="106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6428718" y="3487216"/>
            <a:ext cx="15149" cy="12876"/>
          </a:xfrm>
          <a:custGeom>
            <a:avLst/>
            <a:gdLst/>
            <a:ahLst/>
            <a:cxnLst/>
            <a:rect l="l" t="t" r="r" b="b"/>
            <a:pathLst>
              <a:path w="12700" h="10795">
                <a:moveTo>
                  <a:pt x="12191" y="7619"/>
                </a:moveTo>
                <a:lnTo>
                  <a:pt x="12191" y="1523"/>
                </a:lnTo>
                <a:lnTo>
                  <a:pt x="9143" y="0"/>
                </a:lnTo>
                <a:lnTo>
                  <a:pt x="3047" y="0"/>
                </a:lnTo>
                <a:lnTo>
                  <a:pt x="0" y="1523"/>
                </a:lnTo>
                <a:lnTo>
                  <a:pt x="0" y="7619"/>
                </a:lnTo>
                <a:lnTo>
                  <a:pt x="3047" y="10667"/>
                </a:lnTo>
                <a:lnTo>
                  <a:pt x="9143" y="10667"/>
                </a:lnTo>
                <a:lnTo>
                  <a:pt x="12191" y="7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6425085" y="3481762"/>
            <a:ext cx="21966" cy="24238"/>
          </a:xfrm>
          <a:custGeom>
            <a:avLst/>
            <a:gdLst/>
            <a:ahLst/>
            <a:cxnLst/>
            <a:rect l="l" t="t" r="r" b="b"/>
            <a:pathLst>
              <a:path w="18414" h="20320">
                <a:moveTo>
                  <a:pt x="18287" y="13715"/>
                </a:moveTo>
                <a:lnTo>
                  <a:pt x="18287" y="4571"/>
                </a:lnTo>
                <a:lnTo>
                  <a:pt x="16763" y="3047"/>
                </a:lnTo>
                <a:lnTo>
                  <a:pt x="15239" y="3047"/>
                </a:lnTo>
                <a:lnTo>
                  <a:pt x="13715" y="1523"/>
                </a:lnTo>
                <a:lnTo>
                  <a:pt x="12191" y="1523"/>
                </a:lnTo>
                <a:lnTo>
                  <a:pt x="10667" y="0"/>
                </a:lnTo>
                <a:lnTo>
                  <a:pt x="7619" y="0"/>
                </a:lnTo>
                <a:lnTo>
                  <a:pt x="6095" y="1523"/>
                </a:lnTo>
                <a:lnTo>
                  <a:pt x="4571" y="1523"/>
                </a:lnTo>
                <a:lnTo>
                  <a:pt x="3047" y="3047"/>
                </a:lnTo>
                <a:lnTo>
                  <a:pt x="1523" y="3047"/>
                </a:lnTo>
                <a:lnTo>
                  <a:pt x="0" y="4571"/>
                </a:lnTo>
                <a:lnTo>
                  <a:pt x="0" y="13715"/>
                </a:lnTo>
                <a:lnTo>
                  <a:pt x="1523" y="16763"/>
                </a:lnTo>
                <a:lnTo>
                  <a:pt x="3047" y="16763"/>
                </a:lnTo>
                <a:lnTo>
                  <a:pt x="4571" y="18287"/>
                </a:lnTo>
                <a:lnTo>
                  <a:pt x="6095" y="18287"/>
                </a:lnTo>
                <a:lnTo>
                  <a:pt x="7619" y="19811"/>
                </a:lnTo>
                <a:lnTo>
                  <a:pt x="7619" y="7619"/>
                </a:lnTo>
                <a:lnTo>
                  <a:pt x="10667" y="7619"/>
                </a:lnTo>
                <a:lnTo>
                  <a:pt x="10667" y="19811"/>
                </a:lnTo>
                <a:lnTo>
                  <a:pt x="12191" y="18287"/>
                </a:lnTo>
                <a:lnTo>
                  <a:pt x="13715" y="18287"/>
                </a:lnTo>
                <a:lnTo>
                  <a:pt x="15239" y="16763"/>
                </a:lnTo>
                <a:lnTo>
                  <a:pt x="16763" y="16763"/>
                </a:lnTo>
                <a:lnTo>
                  <a:pt x="18287" y="13715"/>
                </a:lnTo>
                <a:close/>
              </a:path>
              <a:path w="18414" h="20320">
                <a:moveTo>
                  <a:pt x="9143" y="7619"/>
                </a:moveTo>
                <a:lnTo>
                  <a:pt x="7619" y="7619"/>
                </a:lnTo>
                <a:lnTo>
                  <a:pt x="8635" y="8127"/>
                </a:lnTo>
                <a:lnTo>
                  <a:pt x="9143" y="7619"/>
                </a:lnTo>
                <a:close/>
              </a:path>
              <a:path w="18414" h="20320">
                <a:moveTo>
                  <a:pt x="8635" y="8127"/>
                </a:moveTo>
                <a:lnTo>
                  <a:pt x="7619" y="7619"/>
                </a:lnTo>
                <a:lnTo>
                  <a:pt x="7619" y="9143"/>
                </a:lnTo>
                <a:lnTo>
                  <a:pt x="8635" y="8127"/>
                </a:lnTo>
                <a:close/>
              </a:path>
              <a:path w="18414" h="20320">
                <a:moveTo>
                  <a:pt x="8839" y="8229"/>
                </a:moveTo>
                <a:lnTo>
                  <a:pt x="8635" y="8127"/>
                </a:lnTo>
                <a:lnTo>
                  <a:pt x="7619" y="9143"/>
                </a:lnTo>
                <a:lnTo>
                  <a:pt x="8635" y="8635"/>
                </a:lnTo>
                <a:lnTo>
                  <a:pt x="8839" y="8229"/>
                </a:lnTo>
                <a:close/>
              </a:path>
              <a:path w="18414" h="20320">
                <a:moveTo>
                  <a:pt x="8635" y="8635"/>
                </a:moveTo>
                <a:lnTo>
                  <a:pt x="7619" y="9143"/>
                </a:lnTo>
                <a:lnTo>
                  <a:pt x="8127" y="9651"/>
                </a:lnTo>
                <a:lnTo>
                  <a:pt x="8635" y="8635"/>
                </a:lnTo>
                <a:close/>
              </a:path>
              <a:path w="18414" h="20320">
                <a:moveTo>
                  <a:pt x="8127" y="9651"/>
                </a:moveTo>
                <a:lnTo>
                  <a:pt x="7619" y="9143"/>
                </a:lnTo>
                <a:lnTo>
                  <a:pt x="7619" y="10667"/>
                </a:lnTo>
                <a:lnTo>
                  <a:pt x="8127" y="9651"/>
                </a:lnTo>
                <a:close/>
              </a:path>
              <a:path w="18414" h="20320">
                <a:moveTo>
                  <a:pt x="9143" y="10667"/>
                </a:moveTo>
                <a:lnTo>
                  <a:pt x="8127" y="9651"/>
                </a:lnTo>
                <a:lnTo>
                  <a:pt x="7619" y="10667"/>
                </a:lnTo>
                <a:lnTo>
                  <a:pt x="9143" y="10667"/>
                </a:lnTo>
                <a:close/>
              </a:path>
              <a:path w="18414" h="20320">
                <a:moveTo>
                  <a:pt x="9143" y="11429"/>
                </a:moveTo>
                <a:lnTo>
                  <a:pt x="7619" y="10667"/>
                </a:lnTo>
                <a:lnTo>
                  <a:pt x="8635" y="11683"/>
                </a:lnTo>
                <a:lnTo>
                  <a:pt x="9143" y="11429"/>
                </a:lnTo>
                <a:close/>
              </a:path>
              <a:path w="18414" h="20320">
                <a:moveTo>
                  <a:pt x="8635" y="11683"/>
                </a:moveTo>
                <a:lnTo>
                  <a:pt x="7619" y="10667"/>
                </a:lnTo>
                <a:lnTo>
                  <a:pt x="7619" y="12191"/>
                </a:lnTo>
                <a:lnTo>
                  <a:pt x="8635" y="11683"/>
                </a:lnTo>
                <a:close/>
              </a:path>
              <a:path w="18414" h="20320">
                <a:moveTo>
                  <a:pt x="9143" y="12191"/>
                </a:moveTo>
                <a:lnTo>
                  <a:pt x="8635" y="11683"/>
                </a:lnTo>
                <a:lnTo>
                  <a:pt x="7619" y="12191"/>
                </a:lnTo>
                <a:lnTo>
                  <a:pt x="9143" y="12191"/>
                </a:lnTo>
                <a:close/>
              </a:path>
              <a:path w="18414" h="20320">
                <a:moveTo>
                  <a:pt x="10667" y="19811"/>
                </a:moveTo>
                <a:lnTo>
                  <a:pt x="10667" y="12191"/>
                </a:lnTo>
                <a:lnTo>
                  <a:pt x="7619" y="12191"/>
                </a:lnTo>
                <a:lnTo>
                  <a:pt x="7619" y="19811"/>
                </a:lnTo>
                <a:lnTo>
                  <a:pt x="10667" y="19811"/>
                </a:lnTo>
                <a:close/>
              </a:path>
              <a:path w="18414" h="20320">
                <a:moveTo>
                  <a:pt x="9143" y="7619"/>
                </a:moveTo>
                <a:lnTo>
                  <a:pt x="8635" y="8127"/>
                </a:lnTo>
                <a:lnTo>
                  <a:pt x="8839" y="8229"/>
                </a:lnTo>
                <a:lnTo>
                  <a:pt x="9143" y="7619"/>
                </a:lnTo>
                <a:close/>
              </a:path>
              <a:path w="18414" h="20320">
                <a:moveTo>
                  <a:pt x="9143" y="8381"/>
                </a:moveTo>
                <a:lnTo>
                  <a:pt x="8839" y="8229"/>
                </a:lnTo>
                <a:lnTo>
                  <a:pt x="8635" y="8635"/>
                </a:lnTo>
                <a:lnTo>
                  <a:pt x="9143" y="8381"/>
                </a:lnTo>
                <a:close/>
              </a:path>
              <a:path w="18414" h="20320">
                <a:moveTo>
                  <a:pt x="9651" y="11683"/>
                </a:moveTo>
                <a:lnTo>
                  <a:pt x="9143" y="11429"/>
                </a:lnTo>
                <a:lnTo>
                  <a:pt x="8635" y="11683"/>
                </a:lnTo>
                <a:lnTo>
                  <a:pt x="9143" y="12191"/>
                </a:lnTo>
                <a:lnTo>
                  <a:pt x="9651" y="11683"/>
                </a:lnTo>
                <a:close/>
              </a:path>
              <a:path w="18414" h="20320">
                <a:moveTo>
                  <a:pt x="9651" y="8127"/>
                </a:moveTo>
                <a:lnTo>
                  <a:pt x="9143" y="7619"/>
                </a:lnTo>
                <a:lnTo>
                  <a:pt x="8839" y="8229"/>
                </a:lnTo>
                <a:lnTo>
                  <a:pt x="9143" y="8381"/>
                </a:lnTo>
                <a:lnTo>
                  <a:pt x="9651" y="8127"/>
                </a:lnTo>
                <a:close/>
              </a:path>
              <a:path w="18414" h="20320">
                <a:moveTo>
                  <a:pt x="10667" y="7619"/>
                </a:moveTo>
                <a:lnTo>
                  <a:pt x="9143" y="7619"/>
                </a:lnTo>
                <a:lnTo>
                  <a:pt x="9651" y="8127"/>
                </a:lnTo>
                <a:lnTo>
                  <a:pt x="10667" y="7619"/>
                </a:lnTo>
                <a:close/>
              </a:path>
              <a:path w="18414" h="20320">
                <a:moveTo>
                  <a:pt x="10667" y="9143"/>
                </a:moveTo>
                <a:lnTo>
                  <a:pt x="9651" y="8127"/>
                </a:lnTo>
                <a:lnTo>
                  <a:pt x="9143" y="8381"/>
                </a:lnTo>
                <a:lnTo>
                  <a:pt x="10667" y="9143"/>
                </a:lnTo>
                <a:close/>
              </a:path>
              <a:path w="18414" h="20320">
                <a:moveTo>
                  <a:pt x="10667" y="10667"/>
                </a:moveTo>
                <a:lnTo>
                  <a:pt x="9143" y="11429"/>
                </a:lnTo>
                <a:lnTo>
                  <a:pt x="9651" y="11683"/>
                </a:lnTo>
                <a:lnTo>
                  <a:pt x="10667" y="10667"/>
                </a:lnTo>
                <a:close/>
              </a:path>
              <a:path w="18414" h="20320">
                <a:moveTo>
                  <a:pt x="10667" y="12191"/>
                </a:moveTo>
                <a:lnTo>
                  <a:pt x="9651" y="11683"/>
                </a:lnTo>
                <a:lnTo>
                  <a:pt x="9143" y="12191"/>
                </a:lnTo>
                <a:lnTo>
                  <a:pt x="10667" y="12191"/>
                </a:lnTo>
                <a:close/>
              </a:path>
              <a:path w="18414" h="20320">
                <a:moveTo>
                  <a:pt x="10667" y="9143"/>
                </a:moveTo>
                <a:lnTo>
                  <a:pt x="10667" y="7619"/>
                </a:lnTo>
                <a:lnTo>
                  <a:pt x="9651" y="8127"/>
                </a:lnTo>
                <a:lnTo>
                  <a:pt x="10667" y="9143"/>
                </a:lnTo>
                <a:close/>
              </a:path>
              <a:path w="18414" h="20320">
                <a:moveTo>
                  <a:pt x="10667" y="12191"/>
                </a:moveTo>
                <a:lnTo>
                  <a:pt x="10667" y="10667"/>
                </a:lnTo>
                <a:lnTo>
                  <a:pt x="9651" y="11683"/>
                </a:lnTo>
                <a:lnTo>
                  <a:pt x="10667" y="121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6463258" y="3501759"/>
            <a:ext cx="15149" cy="15149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12191" y="9143"/>
                </a:moveTo>
                <a:lnTo>
                  <a:pt x="12191" y="3047"/>
                </a:lnTo>
                <a:lnTo>
                  <a:pt x="9143" y="0"/>
                </a:lnTo>
                <a:lnTo>
                  <a:pt x="3047" y="0"/>
                </a:lnTo>
                <a:lnTo>
                  <a:pt x="0" y="3047"/>
                </a:lnTo>
                <a:lnTo>
                  <a:pt x="0" y="9143"/>
                </a:lnTo>
                <a:lnTo>
                  <a:pt x="3047" y="12191"/>
                </a:lnTo>
                <a:lnTo>
                  <a:pt x="9143" y="12191"/>
                </a:lnTo>
                <a:lnTo>
                  <a:pt x="12191" y="91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6459625" y="3498123"/>
            <a:ext cx="21966" cy="21966"/>
          </a:xfrm>
          <a:custGeom>
            <a:avLst/>
            <a:gdLst/>
            <a:ahLst/>
            <a:cxnLst/>
            <a:rect l="l" t="t" r="r" b="b"/>
            <a:pathLst>
              <a:path w="18414" h="18414">
                <a:moveTo>
                  <a:pt x="18287" y="13715"/>
                </a:moveTo>
                <a:lnTo>
                  <a:pt x="18287" y="4571"/>
                </a:lnTo>
                <a:lnTo>
                  <a:pt x="13715" y="0"/>
                </a:lnTo>
                <a:lnTo>
                  <a:pt x="4571" y="0"/>
                </a:lnTo>
                <a:lnTo>
                  <a:pt x="0" y="4571"/>
                </a:lnTo>
                <a:lnTo>
                  <a:pt x="0" y="13715"/>
                </a:lnTo>
                <a:lnTo>
                  <a:pt x="4571" y="18287"/>
                </a:lnTo>
                <a:lnTo>
                  <a:pt x="7619" y="18287"/>
                </a:lnTo>
                <a:lnTo>
                  <a:pt x="7619" y="7619"/>
                </a:lnTo>
                <a:lnTo>
                  <a:pt x="10667" y="7619"/>
                </a:lnTo>
                <a:lnTo>
                  <a:pt x="10667" y="18287"/>
                </a:lnTo>
                <a:lnTo>
                  <a:pt x="13715" y="18287"/>
                </a:lnTo>
                <a:lnTo>
                  <a:pt x="18287" y="13715"/>
                </a:lnTo>
                <a:close/>
              </a:path>
              <a:path w="18414" h="18414">
                <a:moveTo>
                  <a:pt x="9143" y="7619"/>
                </a:moveTo>
                <a:lnTo>
                  <a:pt x="7619" y="7619"/>
                </a:lnTo>
                <a:lnTo>
                  <a:pt x="7619" y="9143"/>
                </a:lnTo>
                <a:lnTo>
                  <a:pt x="9143" y="7619"/>
                </a:lnTo>
                <a:close/>
              </a:path>
              <a:path w="18414" h="18414">
                <a:moveTo>
                  <a:pt x="9143" y="10667"/>
                </a:moveTo>
                <a:lnTo>
                  <a:pt x="7619" y="9143"/>
                </a:lnTo>
                <a:lnTo>
                  <a:pt x="7619" y="10667"/>
                </a:lnTo>
                <a:lnTo>
                  <a:pt x="9143" y="10667"/>
                </a:lnTo>
                <a:close/>
              </a:path>
              <a:path w="18414" h="18414">
                <a:moveTo>
                  <a:pt x="10667" y="18287"/>
                </a:moveTo>
                <a:lnTo>
                  <a:pt x="10667" y="10667"/>
                </a:lnTo>
                <a:lnTo>
                  <a:pt x="7619" y="10667"/>
                </a:lnTo>
                <a:lnTo>
                  <a:pt x="7619" y="18287"/>
                </a:lnTo>
                <a:lnTo>
                  <a:pt x="10667" y="18287"/>
                </a:lnTo>
                <a:close/>
              </a:path>
              <a:path w="18414" h="18414">
                <a:moveTo>
                  <a:pt x="10667" y="9143"/>
                </a:moveTo>
                <a:lnTo>
                  <a:pt x="10667" y="7619"/>
                </a:lnTo>
                <a:lnTo>
                  <a:pt x="9143" y="7619"/>
                </a:lnTo>
                <a:lnTo>
                  <a:pt x="10667" y="9143"/>
                </a:lnTo>
                <a:close/>
              </a:path>
              <a:path w="18414" h="18414">
                <a:moveTo>
                  <a:pt x="10667" y="10667"/>
                </a:moveTo>
                <a:lnTo>
                  <a:pt x="10667" y="9143"/>
                </a:lnTo>
                <a:lnTo>
                  <a:pt x="9143" y="10667"/>
                </a:lnTo>
                <a:lnTo>
                  <a:pt x="10667" y="106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6514158" y="3501759"/>
            <a:ext cx="15149" cy="12876"/>
          </a:xfrm>
          <a:custGeom>
            <a:avLst/>
            <a:gdLst/>
            <a:ahLst/>
            <a:cxnLst/>
            <a:rect l="l" t="t" r="r" b="b"/>
            <a:pathLst>
              <a:path w="12700" h="10795">
                <a:moveTo>
                  <a:pt x="12191" y="7619"/>
                </a:moveTo>
                <a:lnTo>
                  <a:pt x="12191" y="1523"/>
                </a:lnTo>
                <a:lnTo>
                  <a:pt x="9143" y="0"/>
                </a:lnTo>
                <a:lnTo>
                  <a:pt x="1523" y="0"/>
                </a:lnTo>
                <a:lnTo>
                  <a:pt x="0" y="1523"/>
                </a:lnTo>
                <a:lnTo>
                  <a:pt x="0" y="7619"/>
                </a:lnTo>
                <a:lnTo>
                  <a:pt x="1523" y="10667"/>
                </a:lnTo>
                <a:lnTo>
                  <a:pt x="9143" y="10667"/>
                </a:lnTo>
                <a:lnTo>
                  <a:pt x="12191" y="76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6508706" y="3496304"/>
            <a:ext cx="24238" cy="24238"/>
          </a:xfrm>
          <a:custGeom>
            <a:avLst/>
            <a:gdLst/>
            <a:ahLst/>
            <a:cxnLst/>
            <a:rect l="l" t="t" r="r" b="b"/>
            <a:pathLst>
              <a:path w="20320" h="20320">
                <a:moveTo>
                  <a:pt x="18287" y="15239"/>
                </a:moveTo>
                <a:lnTo>
                  <a:pt x="18287" y="3047"/>
                </a:lnTo>
                <a:lnTo>
                  <a:pt x="16763" y="3047"/>
                </a:lnTo>
                <a:lnTo>
                  <a:pt x="15239" y="1523"/>
                </a:lnTo>
                <a:lnTo>
                  <a:pt x="13715" y="1523"/>
                </a:lnTo>
                <a:lnTo>
                  <a:pt x="13715" y="0"/>
                </a:lnTo>
                <a:lnTo>
                  <a:pt x="6095" y="0"/>
                </a:lnTo>
                <a:lnTo>
                  <a:pt x="6095" y="1523"/>
                </a:lnTo>
                <a:lnTo>
                  <a:pt x="3047" y="3047"/>
                </a:lnTo>
                <a:lnTo>
                  <a:pt x="1523" y="4571"/>
                </a:lnTo>
                <a:lnTo>
                  <a:pt x="1523" y="6095"/>
                </a:lnTo>
                <a:lnTo>
                  <a:pt x="0" y="6095"/>
                </a:lnTo>
                <a:lnTo>
                  <a:pt x="0" y="12191"/>
                </a:lnTo>
                <a:lnTo>
                  <a:pt x="3047" y="15239"/>
                </a:lnTo>
                <a:lnTo>
                  <a:pt x="3047" y="16763"/>
                </a:lnTo>
                <a:lnTo>
                  <a:pt x="6095" y="18287"/>
                </a:lnTo>
                <a:lnTo>
                  <a:pt x="7619" y="18287"/>
                </a:lnTo>
                <a:lnTo>
                  <a:pt x="7619" y="9143"/>
                </a:lnTo>
                <a:lnTo>
                  <a:pt x="9143" y="7619"/>
                </a:lnTo>
                <a:lnTo>
                  <a:pt x="12191" y="7619"/>
                </a:lnTo>
                <a:lnTo>
                  <a:pt x="12191" y="18287"/>
                </a:lnTo>
                <a:lnTo>
                  <a:pt x="15239" y="18287"/>
                </a:lnTo>
                <a:lnTo>
                  <a:pt x="18287" y="15239"/>
                </a:lnTo>
                <a:close/>
              </a:path>
              <a:path w="20320" h="20320">
                <a:moveTo>
                  <a:pt x="9143" y="7619"/>
                </a:moveTo>
                <a:lnTo>
                  <a:pt x="7619" y="9143"/>
                </a:lnTo>
                <a:lnTo>
                  <a:pt x="8635" y="8635"/>
                </a:lnTo>
                <a:lnTo>
                  <a:pt x="9143" y="7619"/>
                </a:lnTo>
                <a:close/>
              </a:path>
              <a:path w="20320" h="20320">
                <a:moveTo>
                  <a:pt x="8635" y="8635"/>
                </a:moveTo>
                <a:lnTo>
                  <a:pt x="7619" y="9143"/>
                </a:lnTo>
                <a:lnTo>
                  <a:pt x="8127" y="9651"/>
                </a:lnTo>
                <a:lnTo>
                  <a:pt x="8635" y="8635"/>
                </a:lnTo>
                <a:close/>
              </a:path>
              <a:path w="20320" h="20320">
                <a:moveTo>
                  <a:pt x="8127" y="9651"/>
                </a:moveTo>
                <a:lnTo>
                  <a:pt x="7619" y="9143"/>
                </a:lnTo>
                <a:lnTo>
                  <a:pt x="7619" y="10667"/>
                </a:lnTo>
                <a:lnTo>
                  <a:pt x="8127" y="9651"/>
                </a:lnTo>
                <a:close/>
              </a:path>
              <a:path w="20320" h="20320">
                <a:moveTo>
                  <a:pt x="9143" y="10667"/>
                </a:moveTo>
                <a:lnTo>
                  <a:pt x="8127" y="9651"/>
                </a:lnTo>
                <a:lnTo>
                  <a:pt x="7619" y="10667"/>
                </a:lnTo>
                <a:lnTo>
                  <a:pt x="9143" y="10667"/>
                </a:lnTo>
                <a:close/>
              </a:path>
              <a:path w="20320" h="20320">
                <a:moveTo>
                  <a:pt x="12191" y="18287"/>
                </a:moveTo>
                <a:lnTo>
                  <a:pt x="12191" y="10667"/>
                </a:lnTo>
                <a:lnTo>
                  <a:pt x="7619" y="10667"/>
                </a:lnTo>
                <a:lnTo>
                  <a:pt x="7619" y="18287"/>
                </a:lnTo>
                <a:lnTo>
                  <a:pt x="9143" y="18287"/>
                </a:lnTo>
                <a:lnTo>
                  <a:pt x="9143" y="19811"/>
                </a:lnTo>
                <a:lnTo>
                  <a:pt x="10667" y="19811"/>
                </a:lnTo>
                <a:lnTo>
                  <a:pt x="10667" y="18287"/>
                </a:lnTo>
                <a:lnTo>
                  <a:pt x="12191" y="18287"/>
                </a:lnTo>
                <a:close/>
              </a:path>
              <a:path w="20320" h="20320">
                <a:moveTo>
                  <a:pt x="10667" y="7619"/>
                </a:moveTo>
                <a:lnTo>
                  <a:pt x="9143" y="7619"/>
                </a:lnTo>
                <a:lnTo>
                  <a:pt x="8635" y="8635"/>
                </a:lnTo>
                <a:lnTo>
                  <a:pt x="10667" y="7619"/>
                </a:lnTo>
                <a:close/>
              </a:path>
              <a:path w="20320" h="20320">
                <a:moveTo>
                  <a:pt x="12191" y="9143"/>
                </a:moveTo>
                <a:lnTo>
                  <a:pt x="12191" y="7619"/>
                </a:lnTo>
                <a:lnTo>
                  <a:pt x="10667" y="7619"/>
                </a:lnTo>
                <a:lnTo>
                  <a:pt x="12191" y="9143"/>
                </a:lnTo>
                <a:close/>
              </a:path>
              <a:path w="20320" h="20320">
                <a:moveTo>
                  <a:pt x="12191" y="10667"/>
                </a:moveTo>
                <a:lnTo>
                  <a:pt x="12191" y="9143"/>
                </a:lnTo>
                <a:lnTo>
                  <a:pt x="10667" y="10667"/>
                </a:lnTo>
                <a:lnTo>
                  <a:pt x="12191" y="10667"/>
                </a:lnTo>
                <a:close/>
              </a:path>
              <a:path w="20320" h="20320">
                <a:moveTo>
                  <a:pt x="19811" y="13715"/>
                </a:moveTo>
                <a:lnTo>
                  <a:pt x="19811" y="6095"/>
                </a:lnTo>
                <a:lnTo>
                  <a:pt x="18287" y="4571"/>
                </a:lnTo>
                <a:lnTo>
                  <a:pt x="18287" y="13715"/>
                </a:lnTo>
                <a:lnTo>
                  <a:pt x="19811" y="137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6486890" y="3469039"/>
            <a:ext cx="15149" cy="12876"/>
          </a:xfrm>
          <a:custGeom>
            <a:avLst/>
            <a:gdLst/>
            <a:ahLst/>
            <a:cxnLst/>
            <a:rect l="l" t="t" r="r" b="b"/>
            <a:pathLst>
              <a:path w="12700" h="10795">
                <a:moveTo>
                  <a:pt x="12191" y="9143"/>
                </a:moveTo>
                <a:lnTo>
                  <a:pt x="12191" y="3047"/>
                </a:lnTo>
                <a:lnTo>
                  <a:pt x="9143" y="0"/>
                </a:lnTo>
                <a:lnTo>
                  <a:pt x="3047" y="0"/>
                </a:lnTo>
                <a:lnTo>
                  <a:pt x="0" y="3047"/>
                </a:lnTo>
                <a:lnTo>
                  <a:pt x="0" y="9143"/>
                </a:lnTo>
                <a:lnTo>
                  <a:pt x="3047" y="10667"/>
                </a:lnTo>
                <a:lnTo>
                  <a:pt x="9143" y="10667"/>
                </a:lnTo>
                <a:lnTo>
                  <a:pt x="12191" y="91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6483257" y="3463583"/>
            <a:ext cx="21966" cy="24238"/>
          </a:xfrm>
          <a:custGeom>
            <a:avLst/>
            <a:gdLst/>
            <a:ahLst/>
            <a:cxnLst/>
            <a:rect l="l" t="t" r="r" b="b"/>
            <a:pathLst>
              <a:path w="18414" h="20320">
                <a:moveTo>
                  <a:pt x="1523" y="15239"/>
                </a:moveTo>
                <a:lnTo>
                  <a:pt x="1523" y="6095"/>
                </a:lnTo>
                <a:lnTo>
                  <a:pt x="0" y="6095"/>
                </a:lnTo>
                <a:lnTo>
                  <a:pt x="0" y="13715"/>
                </a:lnTo>
                <a:lnTo>
                  <a:pt x="1523" y="15239"/>
                </a:lnTo>
                <a:close/>
              </a:path>
              <a:path w="18414" h="20320">
                <a:moveTo>
                  <a:pt x="18287" y="13715"/>
                </a:moveTo>
                <a:lnTo>
                  <a:pt x="18287" y="6095"/>
                </a:lnTo>
                <a:lnTo>
                  <a:pt x="16763" y="4571"/>
                </a:lnTo>
                <a:lnTo>
                  <a:pt x="16763" y="3047"/>
                </a:lnTo>
                <a:lnTo>
                  <a:pt x="15239" y="3047"/>
                </a:lnTo>
                <a:lnTo>
                  <a:pt x="13715" y="1523"/>
                </a:lnTo>
                <a:lnTo>
                  <a:pt x="12191" y="1523"/>
                </a:lnTo>
                <a:lnTo>
                  <a:pt x="10667" y="0"/>
                </a:lnTo>
                <a:lnTo>
                  <a:pt x="9143" y="0"/>
                </a:lnTo>
                <a:lnTo>
                  <a:pt x="6095" y="1523"/>
                </a:lnTo>
                <a:lnTo>
                  <a:pt x="4571" y="1523"/>
                </a:lnTo>
                <a:lnTo>
                  <a:pt x="3047" y="3047"/>
                </a:lnTo>
                <a:lnTo>
                  <a:pt x="1523" y="3047"/>
                </a:lnTo>
                <a:lnTo>
                  <a:pt x="1523" y="16763"/>
                </a:lnTo>
                <a:lnTo>
                  <a:pt x="3047" y="16763"/>
                </a:lnTo>
                <a:lnTo>
                  <a:pt x="6095" y="19811"/>
                </a:lnTo>
                <a:lnTo>
                  <a:pt x="7619" y="19811"/>
                </a:lnTo>
                <a:lnTo>
                  <a:pt x="7619" y="9143"/>
                </a:lnTo>
                <a:lnTo>
                  <a:pt x="9143" y="7619"/>
                </a:lnTo>
                <a:lnTo>
                  <a:pt x="10667" y="7619"/>
                </a:lnTo>
                <a:lnTo>
                  <a:pt x="10667" y="19811"/>
                </a:lnTo>
                <a:lnTo>
                  <a:pt x="12191" y="19811"/>
                </a:lnTo>
                <a:lnTo>
                  <a:pt x="15239" y="16763"/>
                </a:lnTo>
                <a:lnTo>
                  <a:pt x="16763" y="16763"/>
                </a:lnTo>
                <a:lnTo>
                  <a:pt x="18287" y="13715"/>
                </a:lnTo>
                <a:close/>
              </a:path>
              <a:path w="18414" h="20320">
                <a:moveTo>
                  <a:pt x="9143" y="7619"/>
                </a:moveTo>
                <a:lnTo>
                  <a:pt x="7619" y="9143"/>
                </a:lnTo>
                <a:lnTo>
                  <a:pt x="8635" y="8635"/>
                </a:lnTo>
                <a:lnTo>
                  <a:pt x="9143" y="7619"/>
                </a:lnTo>
                <a:close/>
              </a:path>
              <a:path w="18414" h="20320">
                <a:moveTo>
                  <a:pt x="8635" y="8635"/>
                </a:moveTo>
                <a:lnTo>
                  <a:pt x="7619" y="9143"/>
                </a:lnTo>
                <a:lnTo>
                  <a:pt x="7619" y="10667"/>
                </a:lnTo>
                <a:lnTo>
                  <a:pt x="8635" y="8635"/>
                </a:lnTo>
                <a:close/>
              </a:path>
              <a:path w="18414" h="20320">
                <a:moveTo>
                  <a:pt x="9651" y="11683"/>
                </a:moveTo>
                <a:lnTo>
                  <a:pt x="7619" y="10667"/>
                </a:lnTo>
                <a:lnTo>
                  <a:pt x="9143" y="12191"/>
                </a:lnTo>
                <a:lnTo>
                  <a:pt x="9651" y="11683"/>
                </a:lnTo>
                <a:close/>
              </a:path>
              <a:path w="18414" h="20320">
                <a:moveTo>
                  <a:pt x="10667" y="19811"/>
                </a:moveTo>
                <a:lnTo>
                  <a:pt x="10667" y="12191"/>
                </a:lnTo>
                <a:lnTo>
                  <a:pt x="9143" y="12191"/>
                </a:lnTo>
                <a:lnTo>
                  <a:pt x="7619" y="10667"/>
                </a:lnTo>
                <a:lnTo>
                  <a:pt x="7619" y="19811"/>
                </a:lnTo>
                <a:lnTo>
                  <a:pt x="10667" y="19811"/>
                </a:lnTo>
                <a:close/>
              </a:path>
              <a:path w="18414" h="20320">
                <a:moveTo>
                  <a:pt x="9448" y="8229"/>
                </a:moveTo>
                <a:lnTo>
                  <a:pt x="9143" y="7619"/>
                </a:lnTo>
                <a:lnTo>
                  <a:pt x="8635" y="8635"/>
                </a:lnTo>
                <a:lnTo>
                  <a:pt x="9448" y="8229"/>
                </a:lnTo>
                <a:close/>
              </a:path>
              <a:path w="18414" h="20320">
                <a:moveTo>
                  <a:pt x="10667" y="7619"/>
                </a:moveTo>
                <a:lnTo>
                  <a:pt x="9143" y="7619"/>
                </a:lnTo>
                <a:lnTo>
                  <a:pt x="9651" y="8127"/>
                </a:lnTo>
                <a:lnTo>
                  <a:pt x="10667" y="7619"/>
                </a:lnTo>
                <a:close/>
              </a:path>
              <a:path w="18414" h="20320">
                <a:moveTo>
                  <a:pt x="9651" y="8127"/>
                </a:moveTo>
                <a:lnTo>
                  <a:pt x="9143" y="7619"/>
                </a:lnTo>
                <a:lnTo>
                  <a:pt x="9448" y="8229"/>
                </a:lnTo>
                <a:lnTo>
                  <a:pt x="9651" y="8127"/>
                </a:lnTo>
                <a:close/>
              </a:path>
              <a:path w="18414" h="20320">
                <a:moveTo>
                  <a:pt x="10667" y="12191"/>
                </a:moveTo>
                <a:lnTo>
                  <a:pt x="9651" y="11683"/>
                </a:lnTo>
                <a:lnTo>
                  <a:pt x="9143" y="12191"/>
                </a:lnTo>
                <a:lnTo>
                  <a:pt x="10667" y="12191"/>
                </a:lnTo>
                <a:close/>
              </a:path>
              <a:path w="18414" h="20320">
                <a:moveTo>
                  <a:pt x="10667" y="10667"/>
                </a:moveTo>
                <a:lnTo>
                  <a:pt x="10667" y="9143"/>
                </a:lnTo>
                <a:lnTo>
                  <a:pt x="9651" y="8127"/>
                </a:lnTo>
                <a:lnTo>
                  <a:pt x="9448" y="8229"/>
                </a:lnTo>
                <a:lnTo>
                  <a:pt x="10667" y="10667"/>
                </a:lnTo>
                <a:close/>
              </a:path>
              <a:path w="18414" h="20320">
                <a:moveTo>
                  <a:pt x="10667" y="9143"/>
                </a:moveTo>
                <a:lnTo>
                  <a:pt x="10667" y="7619"/>
                </a:lnTo>
                <a:lnTo>
                  <a:pt x="9651" y="8127"/>
                </a:lnTo>
                <a:lnTo>
                  <a:pt x="10667" y="9143"/>
                </a:lnTo>
                <a:close/>
              </a:path>
              <a:path w="18414" h="20320">
                <a:moveTo>
                  <a:pt x="10667" y="12191"/>
                </a:moveTo>
                <a:lnTo>
                  <a:pt x="10667" y="10667"/>
                </a:lnTo>
                <a:lnTo>
                  <a:pt x="9651" y="11683"/>
                </a:lnTo>
                <a:lnTo>
                  <a:pt x="10667" y="121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6454168" y="3440859"/>
            <a:ext cx="9090" cy="0"/>
          </a:xfrm>
          <a:custGeom>
            <a:avLst/>
            <a:gdLst/>
            <a:ahLst/>
            <a:cxnLst/>
            <a:rect l="l" t="t" r="r" b="b"/>
            <a:pathLst>
              <a:path w="7620">
                <a:moveTo>
                  <a:pt x="0" y="0"/>
                </a:moveTo>
                <a:lnTo>
                  <a:pt x="7619" y="0"/>
                </a:lnTo>
              </a:path>
            </a:pathLst>
          </a:custGeom>
          <a:ln w="1066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6450534" y="3430862"/>
            <a:ext cx="18178" cy="20451"/>
          </a:xfrm>
          <a:custGeom>
            <a:avLst/>
            <a:gdLst/>
            <a:ahLst/>
            <a:cxnLst/>
            <a:rect l="l" t="t" r="r" b="b"/>
            <a:pathLst>
              <a:path w="15239" h="17145">
                <a:moveTo>
                  <a:pt x="15239" y="16763"/>
                </a:moveTo>
                <a:lnTo>
                  <a:pt x="15239" y="0"/>
                </a:lnTo>
                <a:lnTo>
                  <a:pt x="0" y="0"/>
                </a:lnTo>
                <a:lnTo>
                  <a:pt x="0" y="16763"/>
                </a:lnTo>
                <a:lnTo>
                  <a:pt x="3047" y="16763"/>
                </a:lnTo>
                <a:lnTo>
                  <a:pt x="3047" y="7619"/>
                </a:lnTo>
                <a:lnTo>
                  <a:pt x="7619" y="3047"/>
                </a:lnTo>
                <a:lnTo>
                  <a:pt x="10667" y="7619"/>
                </a:lnTo>
                <a:lnTo>
                  <a:pt x="10667" y="16763"/>
                </a:lnTo>
                <a:lnTo>
                  <a:pt x="15239" y="16763"/>
                </a:lnTo>
                <a:close/>
              </a:path>
              <a:path w="15239" h="17145">
                <a:moveTo>
                  <a:pt x="10667" y="7619"/>
                </a:moveTo>
                <a:lnTo>
                  <a:pt x="7619" y="3047"/>
                </a:lnTo>
                <a:lnTo>
                  <a:pt x="3047" y="7619"/>
                </a:lnTo>
                <a:lnTo>
                  <a:pt x="10667" y="7619"/>
                </a:lnTo>
                <a:close/>
              </a:path>
              <a:path w="15239" h="17145">
                <a:moveTo>
                  <a:pt x="10667" y="9143"/>
                </a:moveTo>
                <a:lnTo>
                  <a:pt x="10667" y="7619"/>
                </a:lnTo>
                <a:lnTo>
                  <a:pt x="3047" y="7619"/>
                </a:lnTo>
                <a:lnTo>
                  <a:pt x="3047" y="9143"/>
                </a:lnTo>
                <a:lnTo>
                  <a:pt x="10667" y="9143"/>
                </a:lnTo>
                <a:close/>
              </a:path>
              <a:path w="15239" h="17145">
                <a:moveTo>
                  <a:pt x="10667" y="9143"/>
                </a:moveTo>
                <a:lnTo>
                  <a:pt x="3047" y="9143"/>
                </a:lnTo>
                <a:lnTo>
                  <a:pt x="7619" y="13715"/>
                </a:lnTo>
                <a:lnTo>
                  <a:pt x="10667" y="9143"/>
                </a:lnTo>
                <a:close/>
              </a:path>
              <a:path w="15239" h="17145">
                <a:moveTo>
                  <a:pt x="10667" y="16763"/>
                </a:moveTo>
                <a:lnTo>
                  <a:pt x="10667" y="9143"/>
                </a:lnTo>
                <a:lnTo>
                  <a:pt x="7619" y="13715"/>
                </a:lnTo>
                <a:lnTo>
                  <a:pt x="3047" y="9143"/>
                </a:lnTo>
                <a:lnTo>
                  <a:pt x="3047" y="16763"/>
                </a:lnTo>
                <a:lnTo>
                  <a:pt x="10667" y="167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4472076" y="4004704"/>
            <a:ext cx="1793639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Lead Development</a:t>
            </a:r>
            <a:r>
              <a:rPr sz="995" i="1" spc="-52" dirty="0">
                <a:solidFill>
                  <a:srgbClr val="FFFFFF"/>
                </a:solidFill>
                <a:latin typeface="+mn-lt"/>
                <a:cs typeface="Arial"/>
              </a:rPr>
              <a:t> </a:t>
            </a:r>
            <a:r>
              <a:rPr sz="995" i="1" spc="4" dirty="0">
                <a:solidFill>
                  <a:srgbClr val="FFFFFF"/>
                </a:solidFill>
                <a:latin typeface="+mn-lt"/>
                <a:cs typeface="Arial"/>
              </a:rPr>
              <a:t>(5)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6373360" y="4025307"/>
            <a:ext cx="186332" cy="215116"/>
          </a:xfrm>
          <a:custGeom>
            <a:avLst/>
            <a:gdLst/>
            <a:ahLst/>
            <a:cxnLst/>
            <a:rect l="l" t="t" r="r" b="b"/>
            <a:pathLst>
              <a:path w="156210" h="180339">
                <a:moveTo>
                  <a:pt x="156138" y="102107"/>
                </a:moveTo>
                <a:lnTo>
                  <a:pt x="152876" y="94130"/>
                </a:lnTo>
                <a:lnTo>
                  <a:pt x="146042" y="86296"/>
                </a:lnTo>
                <a:lnTo>
                  <a:pt x="140065" y="75318"/>
                </a:lnTo>
                <a:lnTo>
                  <a:pt x="122801" y="21526"/>
                </a:lnTo>
                <a:lnTo>
                  <a:pt x="66222" y="0"/>
                </a:lnTo>
                <a:lnTo>
                  <a:pt x="24336" y="13501"/>
                </a:lnTo>
                <a:lnTo>
                  <a:pt x="4310" y="40576"/>
                </a:lnTo>
                <a:lnTo>
                  <a:pt x="0" y="71366"/>
                </a:lnTo>
                <a:lnTo>
                  <a:pt x="5262" y="96011"/>
                </a:lnTo>
                <a:lnTo>
                  <a:pt x="15716" y="115490"/>
                </a:lnTo>
                <a:lnTo>
                  <a:pt x="23741" y="128396"/>
                </a:lnTo>
                <a:lnTo>
                  <a:pt x="25193" y="141874"/>
                </a:lnTo>
                <a:lnTo>
                  <a:pt x="25193" y="165147"/>
                </a:lnTo>
                <a:lnTo>
                  <a:pt x="90606" y="179831"/>
                </a:lnTo>
                <a:lnTo>
                  <a:pt x="92130" y="172211"/>
                </a:lnTo>
                <a:lnTo>
                  <a:pt x="95178" y="164591"/>
                </a:lnTo>
                <a:lnTo>
                  <a:pt x="102798" y="158495"/>
                </a:lnTo>
                <a:lnTo>
                  <a:pt x="110847" y="155805"/>
                </a:lnTo>
                <a:lnTo>
                  <a:pt x="121467" y="155257"/>
                </a:lnTo>
                <a:lnTo>
                  <a:pt x="131516" y="154424"/>
                </a:lnTo>
                <a:lnTo>
                  <a:pt x="137850" y="150875"/>
                </a:lnTo>
                <a:lnTo>
                  <a:pt x="137850" y="132587"/>
                </a:lnTo>
                <a:lnTo>
                  <a:pt x="142422" y="129158"/>
                </a:lnTo>
                <a:lnTo>
                  <a:pt x="142422" y="121919"/>
                </a:lnTo>
                <a:lnTo>
                  <a:pt x="142636" y="121598"/>
                </a:lnTo>
                <a:lnTo>
                  <a:pt x="142636" y="109394"/>
                </a:lnTo>
                <a:lnTo>
                  <a:pt x="146804" y="106298"/>
                </a:lnTo>
                <a:lnTo>
                  <a:pt x="152971" y="104917"/>
                </a:lnTo>
                <a:lnTo>
                  <a:pt x="156138" y="102107"/>
                </a:lnTo>
                <a:close/>
              </a:path>
              <a:path w="156210" h="180339">
                <a:moveTo>
                  <a:pt x="25193" y="165147"/>
                </a:moveTo>
                <a:lnTo>
                  <a:pt x="25193" y="141874"/>
                </a:lnTo>
                <a:lnTo>
                  <a:pt x="15930" y="163067"/>
                </a:lnTo>
                <a:lnTo>
                  <a:pt x="25193" y="165147"/>
                </a:lnTo>
                <a:close/>
              </a:path>
              <a:path w="156210" h="180339">
                <a:moveTo>
                  <a:pt x="142422" y="146303"/>
                </a:moveTo>
                <a:lnTo>
                  <a:pt x="139374" y="140207"/>
                </a:lnTo>
                <a:lnTo>
                  <a:pt x="137850" y="132587"/>
                </a:lnTo>
                <a:lnTo>
                  <a:pt x="137850" y="150875"/>
                </a:lnTo>
                <a:lnTo>
                  <a:pt x="142422" y="146303"/>
                </a:lnTo>
                <a:close/>
              </a:path>
              <a:path w="156210" h="180339">
                <a:moveTo>
                  <a:pt x="143946" y="128015"/>
                </a:moveTo>
                <a:lnTo>
                  <a:pt x="142422" y="121919"/>
                </a:lnTo>
                <a:lnTo>
                  <a:pt x="142422" y="129158"/>
                </a:lnTo>
                <a:lnTo>
                  <a:pt x="143946" y="128015"/>
                </a:lnTo>
                <a:close/>
              </a:path>
              <a:path w="156210" h="180339">
                <a:moveTo>
                  <a:pt x="145470" y="117347"/>
                </a:moveTo>
                <a:lnTo>
                  <a:pt x="142636" y="109394"/>
                </a:lnTo>
                <a:lnTo>
                  <a:pt x="142636" y="121598"/>
                </a:lnTo>
                <a:lnTo>
                  <a:pt x="145470" y="1173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6357823" y="4045303"/>
            <a:ext cx="142400" cy="93166"/>
          </a:xfrm>
          <a:custGeom>
            <a:avLst/>
            <a:gdLst/>
            <a:ahLst/>
            <a:cxnLst/>
            <a:rect l="l" t="t" r="r" b="b"/>
            <a:pathLst>
              <a:path w="119379" h="78104">
                <a:moveTo>
                  <a:pt x="66742" y="51856"/>
                </a:moveTo>
                <a:lnTo>
                  <a:pt x="41147" y="28955"/>
                </a:lnTo>
                <a:lnTo>
                  <a:pt x="36575" y="28955"/>
                </a:lnTo>
                <a:lnTo>
                  <a:pt x="35051" y="30479"/>
                </a:lnTo>
                <a:lnTo>
                  <a:pt x="0" y="73151"/>
                </a:lnTo>
                <a:lnTo>
                  <a:pt x="6095" y="77723"/>
                </a:lnTo>
                <a:lnTo>
                  <a:pt x="36575" y="40617"/>
                </a:lnTo>
                <a:lnTo>
                  <a:pt x="36575" y="35051"/>
                </a:lnTo>
                <a:lnTo>
                  <a:pt x="41147" y="35051"/>
                </a:lnTo>
                <a:lnTo>
                  <a:pt x="41147" y="39369"/>
                </a:lnTo>
                <a:lnTo>
                  <a:pt x="64007" y="60959"/>
                </a:lnTo>
                <a:lnTo>
                  <a:pt x="64007" y="54863"/>
                </a:lnTo>
                <a:lnTo>
                  <a:pt x="66742" y="51856"/>
                </a:lnTo>
                <a:close/>
              </a:path>
              <a:path w="119379" h="78104">
                <a:moveTo>
                  <a:pt x="41147" y="35051"/>
                </a:moveTo>
                <a:lnTo>
                  <a:pt x="36575" y="35051"/>
                </a:lnTo>
                <a:lnTo>
                  <a:pt x="39150" y="37483"/>
                </a:lnTo>
                <a:lnTo>
                  <a:pt x="41147" y="35051"/>
                </a:lnTo>
                <a:close/>
              </a:path>
              <a:path w="119379" h="78104">
                <a:moveTo>
                  <a:pt x="39150" y="37483"/>
                </a:moveTo>
                <a:lnTo>
                  <a:pt x="36575" y="35051"/>
                </a:lnTo>
                <a:lnTo>
                  <a:pt x="36575" y="40617"/>
                </a:lnTo>
                <a:lnTo>
                  <a:pt x="39150" y="37483"/>
                </a:lnTo>
                <a:close/>
              </a:path>
              <a:path w="119379" h="78104">
                <a:moveTo>
                  <a:pt x="41147" y="39369"/>
                </a:moveTo>
                <a:lnTo>
                  <a:pt x="41147" y="35051"/>
                </a:lnTo>
                <a:lnTo>
                  <a:pt x="39150" y="37483"/>
                </a:lnTo>
                <a:lnTo>
                  <a:pt x="41147" y="39369"/>
                </a:lnTo>
                <a:close/>
              </a:path>
              <a:path w="119379" h="78104">
                <a:moveTo>
                  <a:pt x="70103" y="54863"/>
                </a:moveTo>
                <a:lnTo>
                  <a:pt x="66742" y="51856"/>
                </a:lnTo>
                <a:lnTo>
                  <a:pt x="64007" y="54863"/>
                </a:lnTo>
                <a:lnTo>
                  <a:pt x="70103" y="54863"/>
                </a:lnTo>
                <a:close/>
              </a:path>
              <a:path w="119379" h="78104">
                <a:moveTo>
                  <a:pt x="70103" y="59435"/>
                </a:moveTo>
                <a:lnTo>
                  <a:pt x="70103" y="54863"/>
                </a:lnTo>
                <a:lnTo>
                  <a:pt x="64007" y="54863"/>
                </a:lnTo>
                <a:lnTo>
                  <a:pt x="64007" y="60959"/>
                </a:lnTo>
                <a:lnTo>
                  <a:pt x="65531" y="62483"/>
                </a:lnTo>
                <a:lnTo>
                  <a:pt x="68579" y="62483"/>
                </a:lnTo>
                <a:lnTo>
                  <a:pt x="70103" y="59435"/>
                </a:lnTo>
                <a:close/>
              </a:path>
              <a:path w="119379" h="78104">
                <a:moveTo>
                  <a:pt x="91947" y="35293"/>
                </a:moveTo>
                <a:lnTo>
                  <a:pt x="86379" y="30255"/>
                </a:lnTo>
                <a:lnTo>
                  <a:pt x="66742" y="51856"/>
                </a:lnTo>
                <a:lnTo>
                  <a:pt x="70103" y="54863"/>
                </a:lnTo>
                <a:lnTo>
                  <a:pt x="70103" y="59435"/>
                </a:lnTo>
                <a:lnTo>
                  <a:pt x="91947" y="35293"/>
                </a:lnTo>
                <a:close/>
              </a:path>
              <a:path w="119379" h="78104">
                <a:moveTo>
                  <a:pt x="118871" y="0"/>
                </a:moveTo>
                <a:lnTo>
                  <a:pt x="73151" y="18287"/>
                </a:lnTo>
                <a:lnTo>
                  <a:pt x="86379" y="30255"/>
                </a:lnTo>
                <a:lnTo>
                  <a:pt x="94487" y="21335"/>
                </a:lnTo>
                <a:lnTo>
                  <a:pt x="99059" y="27431"/>
                </a:lnTo>
                <a:lnTo>
                  <a:pt x="99059" y="41728"/>
                </a:lnTo>
                <a:lnTo>
                  <a:pt x="105155" y="47243"/>
                </a:lnTo>
                <a:lnTo>
                  <a:pt x="118871" y="0"/>
                </a:lnTo>
                <a:close/>
              </a:path>
              <a:path w="119379" h="78104">
                <a:moveTo>
                  <a:pt x="99059" y="27431"/>
                </a:moveTo>
                <a:lnTo>
                  <a:pt x="94487" y="21335"/>
                </a:lnTo>
                <a:lnTo>
                  <a:pt x="86379" y="30255"/>
                </a:lnTo>
                <a:lnTo>
                  <a:pt x="91947" y="35293"/>
                </a:lnTo>
                <a:lnTo>
                  <a:pt x="99059" y="27431"/>
                </a:lnTo>
                <a:close/>
              </a:path>
              <a:path w="119379" h="78104">
                <a:moveTo>
                  <a:pt x="99059" y="41728"/>
                </a:moveTo>
                <a:lnTo>
                  <a:pt x="99059" y="27431"/>
                </a:lnTo>
                <a:lnTo>
                  <a:pt x="91947" y="35293"/>
                </a:lnTo>
                <a:lnTo>
                  <a:pt x="99059" y="41728"/>
                </a:lnTo>
                <a:close/>
              </a:path>
            </a:pathLst>
          </a:custGeom>
          <a:solidFill>
            <a:srgbClr val="1F3FE6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4872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449450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449995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450722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451267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451994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45254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453267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45381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454539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5508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455812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45635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457084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45763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458357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5890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45963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46017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460902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46144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462174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6272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63447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6399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464720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46526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465992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46653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467265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46781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468537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46908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46981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47035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47108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7162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472355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47290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473627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474354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47490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475627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476172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476899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477445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478172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478717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479444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47999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480717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48126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481989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482535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483262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83807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484534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48508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485807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48635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487080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487625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488352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48889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489625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49017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490897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49144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492170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49271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493442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49398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4947151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49526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495987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49653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49726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49780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498532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49907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499805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50035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501077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50162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502350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50289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503622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50416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504895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50544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506167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50671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50744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50798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508712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50925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509985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51053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511257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51180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51253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51307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51380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51434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515075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51562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51634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1689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1762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18347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1889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519619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52016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5208926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521437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522165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52271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23437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52398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524709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52525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525982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526527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527255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52780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528527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52907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5298001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53034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531072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53161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532345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53289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5336176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53416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5348901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53543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536162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53670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5374351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53798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538707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53925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53998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54052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541252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54179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54252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54307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543797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54434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545070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54561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54634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54688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547615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548160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548887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54943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55016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55070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551432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55197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55270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55325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55397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55452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55525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55579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55652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55706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55779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55834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55906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559613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56034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561067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56161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562340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56288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5636125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56415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564885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56543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5661576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56670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5674300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56797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568702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56924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5699751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57052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5712476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57179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572520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57306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5737926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57433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575065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57561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5763376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5" name="object 275"/>
          <p:cNvSpPr/>
          <p:nvPr/>
        </p:nvSpPr>
        <p:spPr>
          <a:xfrm>
            <a:off x="57688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577610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57815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578882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57942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580155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1" name="object 281"/>
          <p:cNvSpPr/>
          <p:nvPr/>
        </p:nvSpPr>
        <p:spPr>
          <a:xfrm>
            <a:off x="58070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2" name="object 282"/>
          <p:cNvSpPr/>
          <p:nvPr/>
        </p:nvSpPr>
        <p:spPr>
          <a:xfrm>
            <a:off x="581427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58197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4" name="object 284"/>
          <p:cNvSpPr/>
          <p:nvPr/>
        </p:nvSpPr>
        <p:spPr>
          <a:xfrm>
            <a:off x="58270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5" name="object 285"/>
          <p:cNvSpPr/>
          <p:nvPr/>
        </p:nvSpPr>
        <p:spPr>
          <a:xfrm>
            <a:off x="58324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583972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58451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585245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89" name="object 289"/>
          <p:cNvSpPr/>
          <p:nvPr/>
        </p:nvSpPr>
        <p:spPr>
          <a:xfrm>
            <a:off x="585790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586517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58706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587790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58833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58906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58960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6" name="object 296"/>
          <p:cNvSpPr/>
          <p:nvPr/>
        </p:nvSpPr>
        <p:spPr>
          <a:xfrm>
            <a:off x="59033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7" name="object 297"/>
          <p:cNvSpPr/>
          <p:nvPr/>
        </p:nvSpPr>
        <p:spPr>
          <a:xfrm>
            <a:off x="59088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59160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59215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59288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1" name="object 301"/>
          <p:cNvSpPr/>
          <p:nvPr/>
        </p:nvSpPr>
        <p:spPr>
          <a:xfrm>
            <a:off x="59342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594152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3" name="object 303"/>
          <p:cNvSpPr/>
          <p:nvPr/>
        </p:nvSpPr>
        <p:spPr>
          <a:xfrm>
            <a:off x="594698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59542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5" name="object 305"/>
          <p:cNvSpPr/>
          <p:nvPr/>
        </p:nvSpPr>
        <p:spPr>
          <a:xfrm>
            <a:off x="595970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59669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597243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59797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598515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0" name="object 310"/>
          <p:cNvSpPr/>
          <p:nvPr/>
        </p:nvSpPr>
        <p:spPr>
          <a:xfrm>
            <a:off x="59924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1" name="object 311"/>
          <p:cNvSpPr/>
          <p:nvPr/>
        </p:nvSpPr>
        <p:spPr>
          <a:xfrm>
            <a:off x="599788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2" name="object 312"/>
          <p:cNvSpPr/>
          <p:nvPr/>
        </p:nvSpPr>
        <p:spPr>
          <a:xfrm>
            <a:off x="60051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3" name="object 313"/>
          <p:cNvSpPr/>
          <p:nvPr/>
        </p:nvSpPr>
        <p:spPr>
          <a:xfrm>
            <a:off x="601060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4" name="object 314"/>
          <p:cNvSpPr/>
          <p:nvPr/>
        </p:nvSpPr>
        <p:spPr>
          <a:xfrm>
            <a:off x="60178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5" name="object 315"/>
          <p:cNvSpPr/>
          <p:nvPr/>
        </p:nvSpPr>
        <p:spPr>
          <a:xfrm>
            <a:off x="602333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6" name="object 316"/>
          <p:cNvSpPr/>
          <p:nvPr/>
        </p:nvSpPr>
        <p:spPr>
          <a:xfrm>
            <a:off x="60306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7" name="object 317"/>
          <p:cNvSpPr/>
          <p:nvPr/>
        </p:nvSpPr>
        <p:spPr>
          <a:xfrm>
            <a:off x="603605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8" name="object 318"/>
          <p:cNvSpPr/>
          <p:nvPr/>
        </p:nvSpPr>
        <p:spPr>
          <a:xfrm>
            <a:off x="60433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19" name="object 319"/>
          <p:cNvSpPr/>
          <p:nvPr/>
        </p:nvSpPr>
        <p:spPr>
          <a:xfrm>
            <a:off x="605060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0" name="object 320"/>
          <p:cNvSpPr/>
          <p:nvPr/>
        </p:nvSpPr>
        <p:spPr>
          <a:xfrm>
            <a:off x="60560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1" name="object 321"/>
          <p:cNvSpPr/>
          <p:nvPr/>
        </p:nvSpPr>
        <p:spPr>
          <a:xfrm>
            <a:off x="606332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2" name="object 322"/>
          <p:cNvSpPr/>
          <p:nvPr/>
        </p:nvSpPr>
        <p:spPr>
          <a:xfrm>
            <a:off x="60687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3" name="object 323"/>
          <p:cNvSpPr/>
          <p:nvPr/>
        </p:nvSpPr>
        <p:spPr>
          <a:xfrm>
            <a:off x="6076051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4" name="object 324"/>
          <p:cNvSpPr/>
          <p:nvPr/>
        </p:nvSpPr>
        <p:spPr>
          <a:xfrm>
            <a:off x="60815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5" name="object 325"/>
          <p:cNvSpPr/>
          <p:nvPr/>
        </p:nvSpPr>
        <p:spPr>
          <a:xfrm>
            <a:off x="608877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6" name="object 326"/>
          <p:cNvSpPr/>
          <p:nvPr/>
        </p:nvSpPr>
        <p:spPr>
          <a:xfrm>
            <a:off x="60942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7" name="object 327"/>
          <p:cNvSpPr/>
          <p:nvPr/>
        </p:nvSpPr>
        <p:spPr>
          <a:xfrm>
            <a:off x="610150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8" name="object 328"/>
          <p:cNvSpPr/>
          <p:nvPr/>
        </p:nvSpPr>
        <p:spPr>
          <a:xfrm>
            <a:off x="61069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29" name="object 329"/>
          <p:cNvSpPr/>
          <p:nvPr/>
        </p:nvSpPr>
        <p:spPr>
          <a:xfrm>
            <a:off x="611422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0" name="object 330"/>
          <p:cNvSpPr/>
          <p:nvPr/>
        </p:nvSpPr>
        <p:spPr>
          <a:xfrm>
            <a:off x="61196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1" name="object 331"/>
          <p:cNvSpPr/>
          <p:nvPr/>
        </p:nvSpPr>
        <p:spPr>
          <a:xfrm>
            <a:off x="612695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2" name="object 332"/>
          <p:cNvSpPr/>
          <p:nvPr/>
        </p:nvSpPr>
        <p:spPr>
          <a:xfrm>
            <a:off x="61324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3" name="object 333"/>
          <p:cNvSpPr/>
          <p:nvPr/>
        </p:nvSpPr>
        <p:spPr>
          <a:xfrm>
            <a:off x="613967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4" name="object 334"/>
          <p:cNvSpPr/>
          <p:nvPr/>
        </p:nvSpPr>
        <p:spPr>
          <a:xfrm>
            <a:off x="61451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5" name="object 335"/>
          <p:cNvSpPr/>
          <p:nvPr/>
        </p:nvSpPr>
        <p:spPr>
          <a:xfrm>
            <a:off x="615240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6" name="object 336"/>
          <p:cNvSpPr/>
          <p:nvPr/>
        </p:nvSpPr>
        <p:spPr>
          <a:xfrm>
            <a:off x="61578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7" name="object 337"/>
          <p:cNvSpPr/>
          <p:nvPr/>
        </p:nvSpPr>
        <p:spPr>
          <a:xfrm>
            <a:off x="616512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8" name="object 338"/>
          <p:cNvSpPr/>
          <p:nvPr/>
        </p:nvSpPr>
        <p:spPr>
          <a:xfrm>
            <a:off x="61705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39" name="object 339"/>
          <p:cNvSpPr/>
          <p:nvPr/>
        </p:nvSpPr>
        <p:spPr>
          <a:xfrm>
            <a:off x="617785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0" name="object 340"/>
          <p:cNvSpPr/>
          <p:nvPr/>
        </p:nvSpPr>
        <p:spPr>
          <a:xfrm>
            <a:off x="618330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1" name="object 341"/>
          <p:cNvSpPr/>
          <p:nvPr/>
        </p:nvSpPr>
        <p:spPr>
          <a:xfrm>
            <a:off x="619057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2" name="object 342"/>
          <p:cNvSpPr/>
          <p:nvPr/>
        </p:nvSpPr>
        <p:spPr>
          <a:xfrm>
            <a:off x="61960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3" name="object 343"/>
          <p:cNvSpPr/>
          <p:nvPr/>
        </p:nvSpPr>
        <p:spPr>
          <a:xfrm>
            <a:off x="620330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4" name="object 344"/>
          <p:cNvSpPr/>
          <p:nvPr/>
        </p:nvSpPr>
        <p:spPr>
          <a:xfrm>
            <a:off x="62087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5" name="object 345"/>
          <p:cNvSpPr/>
          <p:nvPr/>
        </p:nvSpPr>
        <p:spPr>
          <a:xfrm>
            <a:off x="6216027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6" name="object 346"/>
          <p:cNvSpPr/>
          <p:nvPr/>
        </p:nvSpPr>
        <p:spPr>
          <a:xfrm>
            <a:off x="622148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7" name="object 347"/>
          <p:cNvSpPr/>
          <p:nvPr/>
        </p:nvSpPr>
        <p:spPr>
          <a:xfrm>
            <a:off x="622875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8" name="object 348"/>
          <p:cNvSpPr/>
          <p:nvPr/>
        </p:nvSpPr>
        <p:spPr>
          <a:xfrm>
            <a:off x="62342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49" name="object 349"/>
          <p:cNvSpPr/>
          <p:nvPr/>
        </p:nvSpPr>
        <p:spPr>
          <a:xfrm>
            <a:off x="624147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0" name="object 350"/>
          <p:cNvSpPr/>
          <p:nvPr/>
        </p:nvSpPr>
        <p:spPr>
          <a:xfrm>
            <a:off x="62469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1" name="object 351"/>
          <p:cNvSpPr/>
          <p:nvPr/>
        </p:nvSpPr>
        <p:spPr>
          <a:xfrm>
            <a:off x="62542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2" name="object 352"/>
          <p:cNvSpPr/>
          <p:nvPr/>
        </p:nvSpPr>
        <p:spPr>
          <a:xfrm>
            <a:off x="625965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3" name="object 353"/>
          <p:cNvSpPr/>
          <p:nvPr/>
        </p:nvSpPr>
        <p:spPr>
          <a:xfrm>
            <a:off x="62669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4" name="object 354"/>
          <p:cNvSpPr/>
          <p:nvPr/>
        </p:nvSpPr>
        <p:spPr>
          <a:xfrm>
            <a:off x="627238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5" name="object 355"/>
          <p:cNvSpPr/>
          <p:nvPr/>
        </p:nvSpPr>
        <p:spPr>
          <a:xfrm>
            <a:off x="627965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6" name="object 356"/>
          <p:cNvSpPr/>
          <p:nvPr/>
        </p:nvSpPr>
        <p:spPr>
          <a:xfrm>
            <a:off x="628510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7" name="object 357"/>
          <p:cNvSpPr/>
          <p:nvPr/>
        </p:nvSpPr>
        <p:spPr>
          <a:xfrm>
            <a:off x="629237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8" name="object 358"/>
          <p:cNvSpPr/>
          <p:nvPr/>
        </p:nvSpPr>
        <p:spPr>
          <a:xfrm>
            <a:off x="629783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59" name="object 359"/>
          <p:cNvSpPr/>
          <p:nvPr/>
        </p:nvSpPr>
        <p:spPr>
          <a:xfrm>
            <a:off x="630510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0" name="object 360"/>
          <p:cNvSpPr/>
          <p:nvPr/>
        </p:nvSpPr>
        <p:spPr>
          <a:xfrm>
            <a:off x="631055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1" name="object 361"/>
          <p:cNvSpPr/>
          <p:nvPr/>
        </p:nvSpPr>
        <p:spPr>
          <a:xfrm>
            <a:off x="631782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2" name="object 362"/>
          <p:cNvSpPr/>
          <p:nvPr/>
        </p:nvSpPr>
        <p:spPr>
          <a:xfrm>
            <a:off x="632328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3" name="object 363"/>
          <p:cNvSpPr/>
          <p:nvPr/>
        </p:nvSpPr>
        <p:spPr>
          <a:xfrm>
            <a:off x="633055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4" name="object 364"/>
          <p:cNvSpPr/>
          <p:nvPr/>
        </p:nvSpPr>
        <p:spPr>
          <a:xfrm>
            <a:off x="633600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5" name="object 365"/>
          <p:cNvSpPr/>
          <p:nvPr/>
        </p:nvSpPr>
        <p:spPr>
          <a:xfrm>
            <a:off x="634327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6" name="object 366"/>
          <p:cNvSpPr/>
          <p:nvPr/>
        </p:nvSpPr>
        <p:spPr>
          <a:xfrm>
            <a:off x="634873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7" name="object 367"/>
          <p:cNvSpPr/>
          <p:nvPr/>
        </p:nvSpPr>
        <p:spPr>
          <a:xfrm>
            <a:off x="63560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8" name="object 368"/>
          <p:cNvSpPr/>
          <p:nvPr/>
        </p:nvSpPr>
        <p:spPr>
          <a:xfrm>
            <a:off x="636145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69" name="object 369"/>
          <p:cNvSpPr/>
          <p:nvPr/>
        </p:nvSpPr>
        <p:spPr>
          <a:xfrm>
            <a:off x="63687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0" name="object 370"/>
          <p:cNvSpPr/>
          <p:nvPr/>
        </p:nvSpPr>
        <p:spPr>
          <a:xfrm>
            <a:off x="637418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1" name="object 371"/>
          <p:cNvSpPr/>
          <p:nvPr/>
        </p:nvSpPr>
        <p:spPr>
          <a:xfrm>
            <a:off x="63814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2" name="object 372"/>
          <p:cNvSpPr/>
          <p:nvPr/>
        </p:nvSpPr>
        <p:spPr>
          <a:xfrm>
            <a:off x="638690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3" name="object 373"/>
          <p:cNvSpPr/>
          <p:nvPr/>
        </p:nvSpPr>
        <p:spPr>
          <a:xfrm>
            <a:off x="63941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4" name="object 374"/>
          <p:cNvSpPr/>
          <p:nvPr/>
        </p:nvSpPr>
        <p:spPr>
          <a:xfrm>
            <a:off x="6399633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5" name="object 375"/>
          <p:cNvSpPr/>
          <p:nvPr/>
        </p:nvSpPr>
        <p:spPr>
          <a:xfrm>
            <a:off x="640690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6" name="object 376"/>
          <p:cNvSpPr/>
          <p:nvPr/>
        </p:nvSpPr>
        <p:spPr>
          <a:xfrm>
            <a:off x="641235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7" name="object 377"/>
          <p:cNvSpPr/>
          <p:nvPr/>
        </p:nvSpPr>
        <p:spPr>
          <a:xfrm>
            <a:off x="64196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8" name="object 378"/>
          <p:cNvSpPr/>
          <p:nvPr/>
        </p:nvSpPr>
        <p:spPr>
          <a:xfrm>
            <a:off x="642508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79" name="object 379"/>
          <p:cNvSpPr/>
          <p:nvPr/>
        </p:nvSpPr>
        <p:spPr>
          <a:xfrm>
            <a:off x="6432355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0" name="object 380"/>
          <p:cNvSpPr/>
          <p:nvPr/>
        </p:nvSpPr>
        <p:spPr>
          <a:xfrm>
            <a:off x="6437809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1" name="object 381"/>
          <p:cNvSpPr/>
          <p:nvPr/>
        </p:nvSpPr>
        <p:spPr>
          <a:xfrm>
            <a:off x="64450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2" name="object 382"/>
          <p:cNvSpPr/>
          <p:nvPr/>
        </p:nvSpPr>
        <p:spPr>
          <a:xfrm>
            <a:off x="6450534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3" name="object 383"/>
          <p:cNvSpPr/>
          <p:nvPr/>
        </p:nvSpPr>
        <p:spPr>
          <a:xfrm>
            <a:off x="64578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4" name="object 384"/>
          <p:cNvSpPr/>
          <p:nvPr/>
        </p:nvSpPr>
        <p:spPr>
          <a:xfrm>
            <a:off x="6463258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5" name="object 385"/>
          <p:cNvSpPr/>
          <p:nvPr/>
        </p:nvSpPr>
        <p:spPr>
          <a:xfrm>
            <a:off x="6470531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6" name="object 386"/>
          <p:cNvSpPr/>
          <p:nvPr/>
        </p:nvSpPr>
        <p:spPr>
          <a:xfrm>
            <a:off x="647780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7" name="object 387"/>
          <p:cNvSpPr/>
          <p:nvPr/>
        </p:nvSpPr>
        <p:spPr>
          <a:xfrm>
            <a:off x="6483257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8" name="object 388"/>
          <p:cNvSpPr/>
          <p:nvPr/>
        </p:nvSpPr>
        <p:spPr>
          <a:xfrm>
            <a:off x="649052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89" name="object 389"/>
          <p:cNvSpPr/>
          <p:nvPr/>
        </p:nvSpPr>
        <p:spPr>
          <a:xfrm>
            <a:off x="649598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0" name="object 390"/>
          <p:cNvSpPr/>
          <p:nvPr/>
        </p:nvSpPr>
        <p:spPr>
          <a:xfrm>
            <a:off x="6503252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1" name="object 391"/>
          <p:cNvSpPr/>
          <p:nvPr/>
        </p:nvSpPr>
        <p:spPr>
          <a:xfrm>
            <a:off x="65087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2" name="object 392"/>
          <p:cNvSpPr/>
          <p:nvPr/>
        </p:nvSpPr>
        <p:spPr>
          <a:xfrm>
            <a:off x="6515979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3" name="object 393"/>
          <p:cNvSpPr/>
          <p:nvPr/>
        </p:nvSpPr>
        <p:spPr>
          <a:xfrm>
            <a:off x="6521430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4" name="object 394"/>
          <p:cNvSpPr/>
          <p:nvPr/>
        </p:nvSpPr>
        <p:spPr>
          <a:xfrm>
            <a:off x="6528703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5" name="object 395"/>
          <p:cNvSpPr/>
          <p:nvPr/>
        </p:nvSpPr>
        <p:spPr>
          <a:xfrm>
            <a:off x="653415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6" name="object 396"/>
          <p:cNvSpPr/>
          <p:nvPr/>
        </p:nvSpPr>
        <p:spPr>
          <a:xfrm>
            <a:off x="654142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7" name="object 397"/>
          <p:cNvSpPr/>
          <p:nvPr/>
        </p:nvSpPr>
        <p:spPr>
          <a:xfrm>
            <a:off x="654688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8" name="object 398"/>
          <p:cNvSpPr/>
          <p:nvPr/>
        </p:nvSpPr>
        <p:spPr>
          <a:xfrm>
            <a:off x="655415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399" name="object 399"/>
          <p:cNvSpPr/>
          <p:nvPr/>
        </p:nvSpPr>
        <p:spPr>
          <a:xfrm>
            <a:off x="6559606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0" name="object 400"/>
          <p:cNvSpPr/>
          <p:nvPr/>
        </p:nvSpPr>
        <p:spPr>
          <a:xfrm>
            <a:off x="656687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1" name="object 401"/>
          <p:cNvSpPr/>
          <p:nvPr/>
        </p:nvSpPr>
        <p:spPr>
          <a:xfrm>
            <a:off x="6572332" y="2503743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2" name="object 402"/>
          <p:cNvSpPr/>
          <p:nvPr/>
        </p:nvSpPr>
        <p:spPr>
          <a:xfrm>
            <a:off x="6579604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3" name="object 403"/>
          <p:cNvSpPr/>
          <p:nvPr/>
        </p:nvSpPr>
        <p:spPr>
          <a:xfrm>
            <a:off x="6585058" y="2503743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4" name="object 404"/>
          <p:cNvSpPr/>
          <p:nvPr/>
        </p:nvSpPr>
        <p:spPr>
          <a:xfrm>
            <a:off x="44872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5" name="object 405"/>
          <p:cNvSpPr/>
          <p:nvPr/>
        </p:nvSpPr>
        <p:spPr>
          <a:xfrm>
            <a:off x="449450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6" name="object 406"/>
          <p:cNvSpPr/>
          <p:nvPr/>
        </p:nvSpPr>
        <p:spPr>
          <a:xfrm>
            <a:off x="449995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7" name="object 407"/>
          <p:cNvSpPr/>
          <p:nvPr/>
        </p:nvSpPr>
        <p:spPr>
          <a:xfrm>
            <a:off x="450722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8" name="object 408"/>
          <p:cNvSpPr/>
          <p:nvPr/>
        </p:nvSpPr>
        <p:spPr>
          <a:xfrm>
            <a:off x="451267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09" name="object 409"/>
          <p:cNvSpPr/>
          <p:nvPr/>
        </p:nvSpPr>
        <p:spPr>
          <a:xfrm>
            <a:off x="451994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0" name="object 410"/>
          <p:cNvSpPr/>
          <p:nvPr/>
        </p:nvSpPr>
        <p:spPr>
          <a:xfrm>
            <a:off x="45254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1" name="object 411"/>
          <p:cNvSpPr/>
          <p:nvPr/>
        </p:nvSpPr>
        <p:spPr>
          <a:xfrm>
            <a:off x="453267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2" name="object 412"/>
          <p:cNvSpPr/>
          <p:nvPr/>
        </p:nvSpPr>
        <p:spPr>
          <a:xfrm>
            <a:off x="45381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3" name="object 413"/>
          <p:cNvSpPr/>
          <p:nvPr/>
        </p:nvSpPr>
        <p:spPr>
          <a:xfrm>
            <a:off x="454539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4" name="object 414"/>
          <p:cNvSpPr/>
          <p:nvPr/>
        </p:nvSpPr>
        <p:spPr>
          <a:xfrm>
            <a:off x="45508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5" name="object 415"/>
          <p:cNvSpPr/>
          <p:nvPr/>
        </p:nvSpPr>
        <p:spPr>
          <a:xfrm>
            <a:off x="455812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6" name="object 416"/>
          <p:cNvSpPr/>
          <p:nvPr/>
        </p:nvSpPr>
        <p:spPr>
          <a:xfrm>
            <a:off x="45635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7" name="object 417"/>
          <p:cNvSpPr/>
          <p:nvPr/>
        </p:nvSpPr>
        <p:spPr>
          <a:xfrm>
            <a:off x="457084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8" name="object 418"/>
          <p:cNvSpPr/>
          <p:nvPr/>
        </p:nvSpPr>
        <p:spPr>
          <a:xfrm>
            <a:off x="45763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19" name="object 419"/>
          <p:cNvSpPr/>
          <p:nvPr/>
        </p:nvSpPr>
        <p:spPr>
          <a:xfrm>
            <a:off x="458357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0" name="object 420"/>
          <p:cNvSpPr/>
          <p:nvPr/>
        </p:nvSpPr>
        <p:spPr>
          <a:xfrm>
            <a:off x="45890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1" name="object 421"/>
          <p:cNvSpPr/>
          <p:nvPr/>
        </p:nvSpPr>
        <p:spPr>
          <a:xfrm>
            <a:off x="45963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2" name="object 422"/>
          <p:cNvSpPr/>
          <p:nvPr/>
        </p:nvSpPr>
        <p:spPr>
          <a:xfrm>
            <a:off x="46017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3" name="object 423"/>
          <p:cNvSpPr/>
          <p:nvPr/>
        </p:nvSpPr>
        <p:spPr>
          <a:xfrm>
            <a:off x="460902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4" name="object 424"/>
          <p:cNvSpPr/>
          <p:nvPr/>
        </p:nvSpPr>
        <p:spPr>
          <a:xfrm>
            <a:off x="46144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5" name="object 425"/>
          <p:cNvSpPr/>
          <p:nvPr/>
        </p:nvSpPr>
        <p:spPr>
          <a:xfrm>
            <a:off x="462174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6" name="object 426"/>
          <p:cNvSpPr/>
          <p:nvPr/>
        </p:nvSpPr>
        <p:spPr>
          <a:xfrm>
            <a:off x="46272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7" name="object 427"/>
          <p:cNvSpPr/>
          <p:nvPr/>
        </p:nvSpPr>
        <p:spPr>
          <a:xfrm>
            <a:off x="463447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8" name="object 428"/>
          <p:cNvSpPr/>
          <p:nvPr/>
        </p:nvSpPr>
        <p:spPr>
          <a:xfrm>
            <a:off x="46399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29" name="object 429"/>
          <p:cNvSpPr/>
          <p:nvPr/>
        </p:nvSpPr>
        <p:spPr>
          <a:xfrm>
            <a:off x="464720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0" name="object 430"/>
          <p:cNvSpPr/>
          <p:nvPr/>
        </p:nvSpPr>
        <p:spPr>
          <a:xfrm>
            <a:off x="46526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1" name="object 431"/>
          <p:cNvSpPr/>
          <p:nvPr/>
        </p:nvSpPr>
        <p:spPr>
          <a:xfrm>
            <a:off x="465992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2" name="object 432"/>
          <p:cNvSpPr/>
          <p:nvPr/>
        </p:nvSpPr>
        <p:spPr>
          <a:xfrm>
            <a:off x="46653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3" name="object 433"/>
          <p:cNvSpPr/>
          <p:nvPr/>
        </p:nvSpPr>
        <p:spPr>
          <a:xfrm>
            <a:off x="467265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4" name="object 434"/>
          <p:cNvSpPr/>
          <p:nvPr/>
        </p:nvSpPr>
        <p:spPr>
          <a:xfrm>
            <a:off x="46781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5" name="object 435"/>
          <p:cNvSpPr/>
          <p:nvPr/>
        </p:nvSpPr>
        <p:spPr>
          <a:xfrm>
            <a:off x="468537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6" name="object 436"/>
          <p:cNvSpPr/>
          <p:nvPr/>
        </p:nvSpPr>
        <p:spPr>
          <a:xfrm>
            <a:off x="46908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7" name="object 437"/>
          <p:cNvSpPr/>
          <p:nvPr/>
        </p:nvSpPr>
        <p:spPr>
          <a:xfrm>
            <a:off x="46981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8" name="object 438"/>
          <p:cNvSpPr/>
          <p:nvPr/>
        </p:nvSpPr>
        <p:spPr>
          <a:xfrm>
            <a:off x="47035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39" name="object 439"/>
          <p:cNvSpPr/>
          <p:nvPr/>
        </p:nvSpPr>
        <p:spPr>
          <a:xfrm>
            <a:off x="47108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0" name="object 440"/>
          <p:cNvSpPr/>
          <p:nvPr/>
        </p:nvSpPr>
        <p:spPr>
          <a:xfrm>
            <a:off x="47162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1" name="object 441"/>
          <p:cNvSpPr/>
          <p:nvPr/>
        </p:nvSpPr>
        <p:spPr>
          <a:xfrm>
            <a:off x="472355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2" name="object 442"/>
          <p:cNvSpPr/>
          <p:nvPr/>
        </p:nvSpPr>
        <p:spPr>
          <a:xfrm>
            <a:off x="47290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3" name="object 443"/>
          <p:cNvSpPr/>
          <p:nvPr/>
        </p:nvSpPr>
        <p:spPr>
          <a:xfrm>
            <a:off x="473627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4" name="object 444"/>
          <p:cNvSpPr/>
          <p:nvPr/>
        </p:nvSpPr>
        <p:spPr>
          <a:xfrm>
            <a:off x="474354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5" name="object 445"/>
          <p:cNvSpPr/>
          <p:nvPr/>
        </p:nvSpPr>
        <p:spPr>
          <a:xfrm>
            <a:off x="47490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6" name="object 446"/>
          <p:cNvSpPr/>
          <p:nvPr/>
        </p:nvSpPr>
        <p:spPr>
          <a:xfrm>
            <a:off x="475627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7" name="object 447"/>
          <p:cNvSpPr/>
          <p:nvPr/>
        </p:nvSpPr>
        <p:spPr>
          <a:xfrm>
            <a:off x="476172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8" name="object 448"/>
          <p:cNvSpPr/>
          <p:nvPr/>
        </p:nvSpPr>
        <p:spPr>
          <a:xfrm>
            <a:off x="476899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49" name="object 449"/>
          <p:cNvSpPr/>
          <p:nvPr/>
        </p:nvSpPr>
        <p:spPr>
          <a:xfrm>
            <a:off x="477445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0" name="object 450"/>
          <p:cNvSpPr/>
          <p:nvPr/>
        </p:nvSpPr>
        <p:spPr>
          <a:xfrm>
            <a:off x="478172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1" name="object 451"/>
          <p:cNvSpPr/>
          <p:nvPr/>
        </p:nvSpPr>
        <p:spPr>
          <a:xfrm>
            <a:off x="478717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2" name="object 452"/>
          <p:cNvSpPr/>
          <p:nvPr/>
        </p:nvSpPr>
        <p:spPr>
          <a:xfrm>
            <a:off x="479444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3" name="object 453"/>
          <p:cNvSpPr/>
          <p:nvPr/>
        </p:nvSpPr>
        <p:spPr>
          <a:xfrm>
            <a:off x="47999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4" name="object 454"/>
          <p:cNvSpPr/>
          <p:nvPr/>
        </p:nvSpPr>
        <p:spPr>
          <a:xfrm>
            <a:off x="480717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5" name="object 455"/>
          <p:cNvSpPr/>
          <p:nvPr/>
        </p:nvSpPr>
        <p:spPr>
          <a:xfrm>
            <a:off x="48126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6" name="object 456"/>
          <p:cNvSpPr/>
          <p:nvPr/>
        </p:nvSpPr>
        <p:spPr>
          <a:xfrm>
            <a:off x="481989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7" name="object 457"/>
          <p:cNvSpPr/>
          <p:nvPr/>
        </p:nvSpPr>
        <p:spPr>
          <a:xfrm>
            <a:off x="482535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8" name="object 458"/>
          <p:cNvSpPr/>
          <p:nvPr/>
        </p:nvSpPr>
        <p:spPr>
          <a:xfrm>
            <a:off x="483262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59" name="object 459"/>
          <p:cNvSpPr/>
          <p:nvPr/>
        </p:nvSpPr>
        <p:spPr>
          <a:xfrm>
            <a:off x="483807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0" name="object 460"/>
          <p:cNvSpPr/>
          <p:nvPr/>
        </p:nvSpPr>
        <p:spPr>
          <a:xfrm>
            <a:off x="484534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1" name="object 461"/>
          <p:cNvSpPr/>
          <p:nvPr/>
        </p:nvSpPr>
        <p:spPr>
          <a:xfrm>
            <a:off x="48508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2" name="object 462"/>
          <p:cNvSpPr/>
          <p:nvPr/>
        </p:nvSpPr>
        <p:spPr>
          <a:xfrm>
            <a:off x="485807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3" name="object 463"/>
          <p:cNvSpPr/>
          <p:nvPr/>
        </p:nvSpPr>
        <p:spPr>
          <a:xfrm>
            <a:off x="48635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4" name="object 464"/>
          <p:cNvSpPr/>
          <p:nvPr/>
        </p:nvSpPr>
        <p:spPr>
          <a:xfrm>
            <a:off x="487080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5" name="object 465"/>
          <p:cNvSpPr/>
          <p:nvPr/>
        </p:nvSpPr>
        <p:spPr>
          <a:xfrm>
            <a:off x="487625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6" name="object 466"/>
          <p:cNvSpPr/>
          <p:nvPr/>
        </p:nvSpPr>
        <p:spPr>
          <a:xfrm>
            <a:off x="488352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7" name="object 467"/>
          <p:cNvSpPr/>
          <p:nvPr/>
        </p:nvSpPr>
        <p:spPr>
          <a:xfrm>
            <a:off x="48889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8" name="object 468"/>
          <p:cNvSpPr/>
          <p:nvPr/>
        </p:nvSpPr>
        <p:spPr>
          <a:xfrm>
            <a:off x="489625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69" name="object 469"/>
          <p:cNvSpPr/>
          <p:nvPr/>
        </p:nvSpPr>
        <p:spPr>
          <a:xfrm>
            <a:off x="49017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0" name="object 470"/>
          <p:cNvSpPr/>
          <p:nvPr/>
        </p:nvSpPr>
        <p:spPr>
          <a:xfrm>
            <a:off x="490897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1" name="object 471"/>
          <p:cNvSpPr/>
          <p:nvPr/>
        </p:nvSpPr>
        <p:spPr>
          <a:xfrm>
            <a:off x="49144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2" name="object 472"/>
          <p:cNvSpPr/>
          <p:nvPr/>
        </p:nvSpPr>
        <p:spPr>
          <a:xfrm>
            <a:off x="492170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3" name="object 473"/>
          <p:cNvSpPr/>
          <p:nvPr/>
        </p:nvSpPr>
        <p:spPr>
          <a:xfrm>
            <a:off x="49271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4" name="object 474"/>
          <p:cNvSpPr/>
          <p:nvPr/>
        </p:nvSpPr>
        <p:spPr>
          <a:xfrm>
            <a:off x="493442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5" name="object 475"/>
          <p:cNvSpPr/>
          <p:nvPr/>
        </p:nvSpPr>
        <p:spPr>
          <a:xfrm>
            <a:off x="49398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6" name="object 476"/>
          <p:cNvSpPr/>
          <p:nvPr/>
        </p:nvSpPr>
        <p:spPr>
          <a:xfrm>
            <a:off x="4947151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7" name="object 477"/>
          <p:cNvSpPr/>
          <p:nvPr/>
        </p:nvSpPr>
        <p:spPr>
          <a:xfrm>
            <a:off x="49526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8" name="object 478"/>
          <p:cNvSpPr/>
          <p:nvPr/>
        </p:nvSpPr>
        <p:spPr>
          <a:xfrm>
            <a:off x="495987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79" name="object 479"/>
          <p:cNvSpPr/>
          <p:nvPr/>
        </p:nvSpPr>
        <p:spPr>
          <a:xfrm>
            <a:off x="49653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0" name="object 480"/>
          <p:cNvSpPr/>
          <p:nvPr/>
        </p:nvSpPr>
        <p:spPr>
          <a:xfrm>
            <a:off x="49726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1" name="object 481"/>
          <p:cNvSpPr/>
          <p:nvPr/>
        </p:nvSpPr>
        <p:spPr>
          <a:xfrm>
            <a:off x="49780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2" name="object 482"/>
          <p:cNvSpPr/>
          <p:nvPr/>
        </p:nvSpPr>
        <p:spPr>
          <a:xfrm>
            <a:off x="498532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3" name="object 483"/>
          <p:cNvSpPr/>
          <p:nvPr/>
        </p:nvSpPr>
        <p:spPr>
          <a:xfrm>
            <a:off x="49907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4" name="object 484"/>
          <p:cNvSpPr/>
          <p:nvPr/>
        </p:nvSpPr>
        <p:spPr>
          <a:xfrm>
            <a:off x="499805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5" name="object 485"/>
          <p:cNvSpPr/>
          <p:nvPr/>
        </p:nvSpPr>
        <p:spPr>
          <a:xfrm>
            <a:off x="50035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6" name="object 486"/>
          <p:cNvSpPr/>
          <p:nvPr/>
        </p:nvSpPr>
        <p:spPr>
          <a:xfrm>
            <a:off x="501077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7" name="object 487"/>
          <p:cNvSpPr/>
          <p:nvPr/>
        </p:nvSpPr>
        <p:spPr>
          <a:xfrm>
            <a:off x="50162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8" name="object 488"/>
          <p:cNvSpPr/>
          <p:nvPr/>
        </p:nvSpPr>
        <p:spPr>
          <a:xfrm>
            <a:off x="502350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89" name="object 489"/>
          <p:cNvSpPr/>
          <p:nvPr/>
        </p:nvSpPr>
        <p:spPr>
          <a:xfrm>
            <a:off x="50289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0" name="object 490"/>
          <p:cNvSpPr/>
          <p:nvPr/>
        </p:nvSpPr>
        <p:spPr>
          <a:xfrm>
            <a:off x="503622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1" name="object 491"/>
          <p:cNvSpPr/>
          <p:nvPr/>
        </p:nvSpPr>
        <p:spPr>
          <a:xfrm>
            <a:off x="50416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2" name="object 492"/>
          <p:cNvSpPr/>
          <p:nvPr/>
        </p:nvSpPr>
        <p:spPr>
          <a:xfrm>
            <a:off x="504895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3" name="object 493"/>
          <p:cNvSpPr/>
          <p:nvPr/>
        </p:nvSpPr>
        <p:spPr>
          <a:xfrm>
            <a:off x="50544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4" name="object 494"/>
          <p:cNvSpPr/>
          <p:nvPr/>
        </p:nvSpPr>
        <p:spPr>
          <a:xfrm>
            <a:off x="506167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5" name="object 495"/>
          <p:cNvSpPr/>
          <p:nvPr/>
        </p:nvSpPr>
        <p:spPr>
          <a:xfrm>
            <a:off x="50671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6" name="object 496"/>
          <p:cNvSpPr/>
          <p:nvPr/>
        </p:nvSpPr>
        <p:spPr>
          <a:xfrm>
            <a:off x="50744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7" name="object 497"/>
          <p:cNvSpPr/>
          <p:nvPr/>
        </p:nvSpPr>
        <p:spPr>
          <a:xfrm>
            <a:off x="50798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8" name="object 498"/>
          <p:cNvSpPr/>
          <p:nvPr/>
        </p:nvSpPr>
        <p:spPr>
          <a:xfrm>
            <a:off x="508712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99" name="object 499"/>
          <p:cNvSpPr/>
          <p:nvPr/>
        </p:nvSpPr>
        <p:spPr>
          <a:xfrm>
            <a:off x="50925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0" name="object 500"/>
          <p:cNvSpPr/>
          <p:nvPr/>
        </p:nvSpPr>
        <p:spPr>
          <a:xfrm>
            <a:off x="509985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1" name="object 501"/>
          <p:cNvSpPr/>
          <p:nvPr/>
        </p:nvSpPr>
        <p:spPr>
          <a:xfrm>
            <a:off x="51053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2" name="object 502"/>
          <p:cNvSpPr/>
          <p:nvPr/>
        </p:nvSpPr>
        <p:spPr>
          <a:xfrm>
            <a:off x="511257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3" name="object 503"/>
          <p:cNvSpPr/>
          <p:nvPr/>
        </p:nvSpPr>
        <p:spPr>
          <a:xfrm>
            <a:off x="51180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4" name="object 504"/>
          <p:cNvSpPr/>
          <p:nvPr/>
        </p:nvSpPr>
        <p:spPr>
          <a:xfrm>
            <a:off x="51253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5" name="object 505"/>
          <p:cNvSpPr/>
          <p:nvPr/>
        </p:nvSpPr>
        <p:spPr>
          <a:xfrm>
            <a:off x="51307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6" name="object 506"/>
          <p:cNvSpPr/>
          <p:nvPr/>
        </p:nvSpPr>
        <p:spPr>
          <a:xfrm>
            <a:off x="51380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7" name="object 507"/>
          <p:cNvSpPr/>
          <p:nvPr/>
        </p:nvSpPr>
        <p:spPr>
          <a:xfrm>
            <a:off x="51434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8" name="object 508"/>
          <p:cNvSpPr/>
          <p:nvPr/>
        </p:nvSpPr>
        <p:spPr>
          <a:xfrm>
            <a:off x="515075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09" name="object 509"/>
          <p:cNvSpPr/>
          <p:nvPr/>
        </p:nvSpPr>
        <p:spPr>
          <a:xfrm>
            <a:off x="51562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0" name="object 510"/>
          <p:cNvSpPr/>
          <p:nvPr/>
        </p:nvSpPr>
        <p:spPr>
          <a:xfrm>
            <a:off x="51634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1" name="object 511"/>
          <p:cNvSpPr/>
          <p:nvPr/>
        </p:nvSpPr>
        <p:spPr>
          <a:xfrm>
            <a:off x="51689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2" name="object 512"/>
          <p:cNvSpPr/>
          <p:nvPr/>
        </p:nvSpPr>
        <p:spPr>
          <a:xfrm>
            <a:off x="51762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3" name="object 513"/>
          <p:cNvSpPr/>
          <p:nvPr/>
        </p:nvSpPr>
        <p:spPr>
          <a:xfrm>
            <a:off x="518347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4" name="object 514"/>
          <p:cNvSpPr/>
          <p:nvPr/>
        </p:nvSpPr>
        <p:spPr>
          <a:xfrm>
            <a:off x="51889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5" name="object 515"/>
          <p:cNvSpPr/>
          <p:nvPr/>
        </p:nvSpPr>
        <p:spPr>
          <a:xfrm>
            <a:off x="519619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6" name="object 516"/>
          <p:cNvSpPr/>
          <p:nvPr/>
        </p:nvSpPr>
        <p:spPr>
          <a:xfrm>
            <a:off x="52016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7" name="object 517"/>
          <p:cNvSpPr/>
          <p:nvPr/>
        </p:nvSpPr>
        <p:spPr>
          <a:xfrm>
            <a:off x="5208926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8" name="object 518"/>
          <p:cNvSpPr/>
          <p:nvPr/>
        </p:nvSpPr>
        <p:spPr>
          <a:xfrm>
            <a:off x="521437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19" name="object 519"/>
          <p:cNvSpPr/>
          <p:nvPr/>
        </p:nvSpPr>
        <p:spPr>
          <a:xfrm>
            <a:off x="522165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0" name="object 520"/>
          <p:cNvSpPr/>
          <p:nvPr/>
        </p:nvSpPr>
        <p:spPr>
          <a:xfrm>
            <a:off x="52271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1" name="object 521"/>
          <p:cNvSpPr/>
          <p:nvPr/>
        </p:nvSpPr>
        <p:spPr>
          <a:xfrm>
            <a:off x="523437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2" name="object 522"/>
          <p:cNvSpPr/>
          <p:nvPr/>
        </p:nvSpPr>
        <p:spPr>
          <a:xfrm>
            <a:off x="52398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3" name="object 523"/>
          <p:cNvSpPr/>
          <p:nvPr/>
        </p:nvSpPr>
        <p:spPr>
          <a:xfrm>
            <a:off x="524709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4" name="object 524"/>
          <p:cNvSpPr/>
          <p:nvPr/>
        </p:nvSpPr>
        <p:spPr>
          <a:xfrm>
            <a:off x="52525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5" name="object 525"/>
          <p:cNvSpPr/>
          <p:nvPr/>
        </p:nvSpPr>
        <p:spPr>
          <a:xfrm>
            <a:off x="525982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6" name="object 526"/>
          <p:cNvSpPr/>
          <p:nvPr/>
        </p:nvSpPr>
        <p:spPr>
          <a:xfrm>
            <a:off x="526527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7" name="object 527"/>
          <p:cNvSpPr/>
          <p:nvPr/>
        </p:nvSpPr>
        <p:spPr>
          <a:xfrm>
            <a:off x="527255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8" name="object 528"/>
          <p:cNvSpPr/>
          <p:nvPr/>
        </p:nvSpPr>
        <p:spPr>
          <a:xfrm>
            <a:off x="52780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29" name="object 529"/>
          <p:cNvSpPr/>
          <p:nvPr/>
        </p:nvSpPr>
        <p:spPr>
          <a:xfrm>
            <a:off x="528527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0" name="object 530"/>
          <p:cNvSpPr/>
          <p:nvPr/>
        </p:nvSpPr>
        <p:spPr>
          <a:xfrm>
            <a:off x="52907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1" name="object 531"/>
          <p:cNvSpPr/>
          <p:nvPr/>
        </p:nvSpPr>
        <p:spPr>
          <a:xfrm>
            <a:off x="5298001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2" name="object 532"/>
          <p:cNvSpPr/>
          <p:nvPr/>
        </p:nvSpPr>
        <p:spPr>
          <a:xfrm>
            <a:off x="53034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3" name="object 533"/>
          <p:cNvSpPr/>
          <p:nvPr/>
        </p:nvSpPr>
        <p:spPr>
          <a:xfrm>
            <a:off x="531072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4" name="object 534"/>
          <p:cNvSpPr/>
          <p:nvPr/>
        </p:nvSpPr>
        <p:spPr>
          <a:xfrm>
            <a:off x="53161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5" name="object 535"/>
          <p:cNvSpPr/>
          <p:nvPr/>
        </p:nvSpPr>
        <p:spPr>
          <a:xfrm>
            <a:off x="532345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6" name="object 536"/>
          <p:cNvSpPr/>
          <p:nvPr/>
        </p:nvSpPr>
        <p:spPr>
          <a:xfrm>
            <a:off x="53289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7" name="object 537"/>
          <p:cNvSpPr/>
          <p:nvPr/>
        </p:nvSpPr>
        <p:spPr>
          <a:xfrm>
            <a:off x="5336176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8" name="object 538"/>
          <p:cNvSpPr/>
          <p:nvPr/>
        </p:nvSpPr>
        <p:spPr>
          <a:xfrm>
            <a:off x="53416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39" name="object 539"/>
          <p:cNvSpPr/>
          <p:nvPr/>
        </p:nvSpPr>
        <p:spPr>
          <a:xfrm>
            <a:off x="5348901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0" name="object 540"/>
          <p:cNvSpPr/>
          <p:nvPr/>
        </p:nvSpPr>
        <p:spPr>
          <a:xfrm>
            <a:off x="53543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1" name="object 541"/>
          <p:cNvSpPr/>
          <p:nvPr/>
        </p:nvSpPr>
        <p:spPr>
          <a:xfrm>
            <a:off x="536162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2" name="object 542"/>
          <p:cNvSpPr/>
          <p:nvPr/>
        </p:nvSpPr>
        <p:spPr>
          <a:xfrm>
            <a:off x="53670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3" name="object 543"/>
          <p:cNvSpPr/>
          <p:nvPr/>
        </p:nvSpPr>
        <p:spPr>
          <a:xfrm>
            <a:off x="5374351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4" name="object 544"/>
          <p:cNvSpPr/>
          <p:nvPr/>
        </p:nvSpPr>
        <p:spPr>
          <a:xfrm>
            <a:off x="53798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5" name="object 545"/>
          <p:cNvSpPr/>
          <p:nvPr/>
        </p:nvSpPr>
        <p:spPr>
          <a:xfrm>
            <a:off x="538707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6" name="object 546"/>
          <p:cNvSpPr/>
          <p:nvPr/>
        </p:nvSpPr>
        <p:spPr>
          <a:xfrm>
            <a:off x="53925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7" name="object 547"/>
          <p:cNvSpPr/>
          <p:nvPr/>
        </p:nvSpPr>
        <p:spPr>
          <a:xfrm>
            <a:off x="53998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8" name="object 548"/>
          <p:cNvSpPr/>
          <p:nvPr/>
        </p:nvSpPr>
        <p:spPr>
          <a:xfrm>
            <a:off x="54052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49" name="object 549"/>
          <p:cNvSpPr/>
          <p:nvPr/>
        </p:nvSpPr>
        <p:spPr>
          <a:xfrm>
            <a:off x="541252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0" name="object 550"/>
          <p:cNvSpPr/>
          <p:nvPr/>
        </p:nvSpPr>
        <p:spPr>
          <a:xfrm>
            <a:off x="54179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1" name="object 551"/>
          <p:cNvSpPr/>
          <p:nvPr/>
        </p:nvSpPr>
        <p:spPr>
          <a:xfrm>
            <a:off x="54252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2" name="object 552"/>
          <p:cNvSpPr/>
          <p:nvPr/>
        </p:nvSpPr>
        <p:spPr>
          <a:xfrm>
            <a:off x="54307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3" name="object 553"/>
          <p:cNvSpPr/>
          <p:nvPr/>
        </p:nvSpPr>
        <p:spPr>
          <a:xfrm>
            <a:off x="543797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4" name="object 554"/>
          <p:cNvSpPr/>
          <p:nvPr/>
        </p:nvSpPr>
        <p:spPr>
          <a:xfrm>
            <a:off x="54434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5" name="object 555"/>
          <p:cNvSpPr/>
          <p:nvPr/>
        </p:nvSpPr>
        <p:spPr>
          <a:xfrm>
            <a:off x="545070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6" name="object 556"/>
          <p:cNvSpPr/>
          <p:nvPr/>
        </p:nvSpPr>
        <p:spPr>
          <a:xfrm>
            <a:off x="54561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7" name="object 557"/>
          <p:cNvSpPr/>
          <p:nvPr/>
        </p:nvSpPr>
        <p:spPr>
          <a:xfrm>
            <a:off x="54634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8" name="object 558"/>
          <p:cNvSpPr/>
          <p:nvPr/>
        </p:nvSpPr>
        <p:spPr>
          <a:xfrm>
            <a:off x="54688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59" name="object 559"/>
          <p:cNvSpPr/>
          <p:nvPr/>
        </p:nvSpPr>
        <p:spPr>
          <a:xfrm>
            <a:off x="547615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0" name="object 560"/>
          <p:cNvSpPr/>
          <p:nvPr/>
        </p:nvSpPr>
        <p:spPr>
          <a:xfrm>
            <a:off x="548160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1" name="object 561"/>
          <p:cNvSpPr/>
          <p:nvPr/>
        </p:nvSpPr>
        <p:spPr>
          <a:xfrm>
            <a:off x="548887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2" name="object 562"/>
          <p:cNvSpPr/>
          <p:nvPr/>
        </p:nvSpPr>
        <p:spPr>
          <a:xfrm>
            <a:off x="54943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3" name="object 563"/>
          <p:cNvSpPr/>
          <p:nvPr/>
        </p:nvSpPr>
        <p:spPr>
          <a:xfrm>
            <a:off x="55016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4" name="object 564"/>
          <p:cNvSpPr/>
          <p:nvPr/>
        </p:nvSpPr>
        <p:spPr>
          <a:xfrm>
            <a:off x="55070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5" name="object 565"/>
          <p:cNvSpPr/>
          <p:nvPr/>
        </p:nvSpPr>
        <p:spPr>
          <a:xfrm>
            <a:off x="551432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6" name="object 566"/>
          <p:cNvSpPr/>
          <p:nvPr/>
        </p:nvSpPr>
        <p:spPr>
          <a:xfrm>
            <a:off x="55197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7" name="object 567"/>
          <p:cNvSpPr/>
          <p:nvPr/>
        </p:nvSpPr>
        <p:spPr>
          <a:xfrm>
            <a:off x="55270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8" name="object 568"/>
          <p:cNvSpPr/>
          <p:nvPr/>
        </p:nvSpPr>
        <p:spPr>
          <a:xfrm>
            <a:off x="55325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69" name="object 569"/>
          <p:cNvSpPr/>
          <p:nvPr/>
        </p:nvSpPr>
        <p:spPr>
          <a:xfrm>
            <a:off x="55397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0" name="object 570"/>
          <p:cNvSpPr/>
          <p:nvPr/>
        </p:nvSpPr>
        <p:spPr>
          <a:xfrm>
            <a:off x="55452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1" name="object 571"/>
          <p:cNvSpPr/>
          <p:nvPr/>
        </p:nvSpPr>
        <p:spPr>
          <a:xfrm>
            <a:off x="55525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2" name="object 572"/>
          <p:cNvSpPr/>
          <p:nvPr/>
        </p:nvSpPr>
        <p:spPr>
          <a:xfrm>
            <a:off x="55579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3" name="object 573"/>
          <p:cNvSpPr/>
          <p:nvPr/>
        </p:nvSpPr>
        <p:spPr>
          <a:xfrm>
            <a:off x="55652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4" name="object 574"/>
          <p:cNvSpPr/>
          <p:nvPr/>
        </p:nvSpPr>
        <p:spPr>
          <a:xfrm>
            <a:off x="55706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5" name="object 575"/>
          <p:cNvSpPr/>
          <p:nvPr/>
        </p:nvSpPr>
        <p:spPr>
          <a:xfrm>
            <a:off x="55779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6" name="object 576"/>
          <p:cNvSpPr/>
          <p:nvPr/>
        </p:nvSpPr>
        <p:spPr>
          <a:xfrm>
            <a:off x="55834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7" name="object 577"/>
          <p:cNvSpPr/>
          <p:nvPr/>
        </p:nvSpPr>
        <p:spPr>
          <a:xfrm>
            <a:off x="55906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8" name="object 578"/>
          <p:cNvSpPr/>
          <p:nvPr/>
        </p:nvSpPr>
        <p:spPr>
          <a:xfrm>
            <a:off x="559613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79" name="object 579"/>
          <p:cNvSpPr/>
          <p:nvPr/>
        </p:nvSpPr>
        <p:spPr>
          <a:xfrm>
            <a:off x="56034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0" name="object 580"/>
          <p:cNvSpPr/>
          <p:nvPr/>
        </p:nvSpPr>
        <p:spPr>
          <a:xfrm>
            <a:off x="561067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1" name="object 581"/>
          <p:cNvSpPr/>
          <p:nvPr/>
        </p:nvSpPr>
        <p:spPr>
          <a:xfrm>
            <a:off x="56161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2" name="object 582"/>
          <p:cNvSpPr/>
          <p:nvPr/>
        </p:nvSpPr>
        <p:spPr>
          <a:xfrm>
            <a:off x="562340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3" name="object 583"/>
          <p:cNvSpPr/>
          <p:nvPr/>
        </p:nvSpPr>
        <p:spPr>
          <a:xfrm>
            <a:off x="56288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4" name="object 584"/>
          <p:cNvSpPr/>
          <p:nvPr/>
        </p:nvSpPr>
        <p:spPr>
          <a:xfrm>
            <a:off x="5636125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5" name="object 585"/>
          <p:cNvSpPr/>
          <p:nvPr/>
        </p:nvSpPr>
        <p:spPr>
          <a:xfrm>
            <a:off x="56415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6" name="object 586"/>
          <p:cNvSpPr/>
          <p:nvPr/>
        </p:nvSpPr>
        <p:spPr>
          <a:xfrm>
            <a:off x="564885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7" name="object 587"/>
          <p:cNvSpPr/>
          <p:nvPr/>
        </p:nvSpPr>
        <p:spPr>
          <a:xfrm>
            <a:off x="56543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8" name="object 588"/>
          <p:cNvSpPr/>
          <p:nvPr/>
        </p:nvSpPr>
        <p:spPr>
          <a:xfrm>
            <a:off x="5661576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89" name="object 589"/>
          <p:cNvSpPr/>
          <p:nvPr/>
        </p:nvSpPr>
        <p:spPr>
          <a:xfrm>
            <a:off x="56670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0" name="object 590"/>
          <p:cNvSpPr/>
          <p:nvPr/>
        </p:nvSpPr>
        <p:spPr>
          <a:xfrm>
            <a:off x="5674300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1" name="object 591"/>
          <p:cNvSpPr/>
          <p:nvPr/>
        </p:nvSpPr>
        <p:spPr>
          <a:xfrm>
            <a:off x="56797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2" name="object 592"/>
          <p:cNvSpPr/>
          <p:nvPr/>
        </p:nvSpPr>
        <p:spPr>
          <a:xfrm>
            <a:off x="568702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3" name="object 593"/>
          <p:cNvSpPr/>
          <p:nvPr/>
        </p:nvSpPr>
        <p:spPr>
          <a:xfrm>
            <a:off x="56924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4" name="object 594"/>
          <p:cNvSpPr/>
          <p:nvPr/>
        </p:nvSpPr>
        <p:spPr>
          <a:xfrm>
            <a:off x="5699751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5" name="object 595"/>
          <p:cNvSpPr/>
          <p:nvPr/>
        </p:nvSpPr>
        <p:spPr>
          <a:xfrm>
            <a:off x="57052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6" name="object 596"/>
          <p:cNvSpPr/>
          <p:nvPr/>
        </p:nvSpPr>
        <p:spPr>
          <a:xfrm>
            <a:off x="5712476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7" name="object 597"/>
          <p:cNvSpPr/>
          <p:nvPr/>
        </p:nvSpPr>
        <p:spPr>
          <a:xfrm>
            <a:off x="57179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8" name="object 598"/>
          <p:cNvSpPr/>
          <p:nvPr/>
        </p:nvSpPr>
        <p:spPr>
          <a:xfrm>
            <a:off x="572520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99" name="object 599"/>
          <p:cNvSpPr/>
          <p:nvPr/>
        </p:nvSpPr>
        <p:spPr>
          <a:xfrm>
            <a:off x="57306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0" name="object 600"/>
          <p:cNvSpPr/>
          <p:nvPr/>
        </p:nvSpPr>
        <p:spPr>
          <a:xfrm>
            <a:off x="5737926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1" name="object 601"/>
          <p:cNvSpPr/>
          <p:nvPr/>
        </p:nvSpPr>
        <p:spPr>
          <a:xfrm>
            <a:off x="57433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2" name="object 602"/>
          <p:cNvSpPr/>
          <p:nvPr/>
        </p:nvSpPr>
        <p:spPr>
          <a:xfrm>
            <a:off x="575065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3" name="object 603"/>
          <p:cNvSpPr/>
          <p:nvPr/>
        </p:nvSpPr>
        <p:spPr>
          <a:xfrm>
            <a:off x="57561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4" name="object 604"/>
          <p:cNvSpPr/>
          <p:nvPr/>
        </p:nvSpPr>
        <p:spPr>
          <a:xfrm>
            <a:off x="5763376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5" name="object 605"/>
          <p:cNvSpPr/>
          <p:nvPr/>
        </p:nvSpPr>
        <p:spPr>
          <a:xfrm>
            <a:off x="57688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6" name="object 606"/>
          <p:cNvSpPr/>
          <p:nvPr/>
        </p:nvSpPr>
        <p:spPr>
          <a:xfrm>
            <a:off x="577610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7" name="object 607"/>
          <p:cNvSpPr/>
          <p:nvPr/>
        </p:nvSpPr>
        <p:spPr>
          <a:xfrm>
            <a:off x="57815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8" name="object 608"/>
          <p:cNvSpPr/>
          <p:nvPr/>
        </p:nvSpPr>
        <p:spPr>
          <a:xfrm>
            <a:off x="578882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09" name="object 609"/>
          <p:cNvSpPr/>
          <p:nvPr/>
        </p:nvSpPr>
        <p:spPr>
          <a:xfrm>
            <a:off x="57942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0" name="object 610"/>
          <p:cNvSpPr/>
          <p:nvPr/>
        </p:nvSpPr>
        <p:spPr>
          <a:xfrm>
            <a:off x="580155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1" name="object 611"/>
          <p:cNvSpPr/>
          <p:nvPr/>
        </p:nvSpPr>
        <p:spPr>
          <a:xfrm>
            <a:off x="58070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2" name="object 612"/>
          <p:cNvSpPr/>
          <p:nvPr/>
        </p:nvSpPr>
        <p:spPr>
          <a:xfrm>
            <a:off x="581427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3" name="object 613"/>
          <p:cNvSpPr/>
          <p:nvPr/>
        </p:nvSpPr>
        <p:spPr>
          <a:xfrm>
            <a:off x="58197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4" name="object 614"/>
          <p:cNvSpPr/>
          <p:nvPr/>
        </p:nvSpPr>
        <p:spPr>
          <a:xfrm>
            <a:off x="58270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5" name="object 615"/>
          <p:cNvSpPr/>
          <p:nvPr/>
        </p:nvSpPr>
        <p:spPr>
          <a:xfrm>
            <a:off x="58324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6" name="object 616"/>
          <p:cNvSpPr/>
          <p:nvPr/>
        </p:nvSpPr>
        <p:spPr>
          <a:xfrm>
            <a:off x="583972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7" name="object 617"/>
          <p:cNvSpPr/>
          <p:nvPr/>
        </p:nvSpPr>
        <p:spPr>
          <a:xfrm>
            <a:off x="58451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8" name="object 618"/>
          <p:cNvSpPr/>
          <p:nvPr/>
        </p:nvSpPr>
        <p:spPr>
          <a:xfrm>
            <a:off x="585245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19" name="object 619"/>
          <p:cNvSpPr/>
          <p:nvPr/>
        </p:nvSpPr>
        <p:spPr>
          <a:xfrm>
            <a:off x="585790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0" name="object 620"/>
          <p:cNvSpPr/>
          <p:nvPr/>
        </p:nvSpPr>
        <p:spPr>
          <a:xfrm>
            <a:off x="586517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1" name="object 621"/>
          <p:cNvSpPr/>
          <p:nvPr/>
        </p:nvSpPr>
        <p:spPr>
          <a:xfrm>
            <a:off x="58706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2" name="object 622"/>
          <p:cNvSpPr/>
          <p:nvPr/>
        </p:nvSpPr>
        <p:spPr>
          <a:xfrm>
            <a:off x="587790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3" name="object 623"/>
          <p:cNvSpPr/>
          <p:nvPr/>
        </p:nvSpPr>
        <p:spPr>
          <a:xfrm>
            <a:off x="58833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4" name="object 624"/>
          <p:cNvSpPr/>
          <p:nvPr/>
        </p:nvSpPr>
        <p:spPr>
          <a:xfrm>
            <a:off x="58906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5" name="object 625"/>
          <p:cNvSpPr/>
          <p:nvPr/>
        </p:nvSpPr>
        <p:spPr>
          <a:xfrm>
            <a:off x="58960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6" name="object 626"/>
          <p:cNvSpPr/>
          <p:nvPr/>
        </p:nvSpPr>
        <p:spPr>
          <a:xfrm>
            <a:off x="59033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7" name="object 627"/>
          <p:cNvSpPr/>
          <p:nvPr/>
        </p:nvSpPr>
        <p:spPr>
          <a:xfrm>
            <a:off x="59088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8" name="object 628"/>
          <p:cNvSpPr/>
          <p:nvPr/>
        </p:nvSpPr>
        <p:spPr>
          <a:xfrm>
            <a:off x="59160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29" name="object 629"/>
          <p:cNvSpPr/>
          <p:nvPr/>
        </p:nvSpPr>
        <p:spPr>
          <a:xfrm>
            <a:off x="59215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0" name="object 630"/>
          <p:cNvSpPr/>
          <p:nvPr/>
        </p:nvSpPr>
        <p:spPr>
          <a:xfrm>
            <a:off x="59288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1" name="object 631"/>
          <p:cNvSpPr/>
          <p:nvPr/>
        </p:nvSpPr>
        <p:spPr>
          <a:xfrm>
            <a:off x="59342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2" name="object 632"/>
          <p:cNvSpPr/>
          <p:nvPr/>
        </p:nvSpPr>
        <p:spPr>
          <a:xfrm>
            <a:off x="594152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3" name="object 633"/>
          <p:cNvSpPr/>
          <p:nvPr/>
        </p:nvSpPr>
        <p:spPr>
          <a:xfrm>
            <a:off x="594698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4" name="object 634"/>
          <p:cNvSpPr/>
          <p:nvPr/>
        </p:nvSpPr>
        <p:spPr>
          <a:xfrm>
            <a:off x="59542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5" name="object 635"/>
          <p:cNvSpPr/>
          <p:nvPr/>
        </p:nvSpPr>
        <p:spPr>
          <a:xfrm>
            <a:off x="595970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6" name="object 636"/>
          <p:cNvSpPr/>
          <p:nvPr/>
        </p:nvSpPr>
        <p:spPr>
          <a:xfrm>
            <a:off x="59669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7" name="object 637"/>
          <p:cNvSpPr/>
          <p:nvPr/>
        </p:nvSpPr>
        <p:spPr>
          <a:xfrm>
            <a:off x="597243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8" name="object 638"/>
          <p:cNvSpPr/>
          <p:nvPr/>
        </p:nvSpPr>
        <p:spPr>
          <a:xfrm>
            <a:off x="59797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39" name="object 639"/>
          <p:cNvSpPr/>
          <p:nvPr/>
        </p:nvSpPr>
        <p:spPr>
          <a:xfrm>
            <a:off x="598515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0" name="object 640"/>
          <p:cNvSpPr/>
          <p:nvPr/>
        </p:nvSpPr>
        <p:spPr>
          <a:xfrm>
            <a:off x="59924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1" name="object 641"/>
          <p:cNvSpPr/>
          <p:nvPr/>
        </p:nvSpPr>
        <p:spPr>
          <a:xfrm>
            <a:off x="599788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2" name="object 642"/>
          <p:cNvSpPr/>
          <p:nvPr/>
        </p:nvSpPr>
        <p:spPr>
          <a:xfrm>
            <a:off x="60051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3" name="object 643"/>
          <p:cNvSpPr/>
          <p:nvPr/>
        </p:nvSpPr>
        <p:spPr>
          <a:xfrm>
            <a:off x="601060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4" name="object 644"/>
          <p:cNvSpPr/>
          <p:nvPr/>
        </p:nvSpPr>
        <p:spPr>
          <a:xfrm>
            <a:off x="60178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5" name="object 645"/>
          <p:cNvSpPr/>
          <p:nvPr/>
        </p:nvSpPr>
        <p:spPr>
          <a:xfrm>
            <a:off x="602333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6" name="object 646"/>
          <p:cNvSpPr/>
          <p:nvPr/>
        </p:nvSpPr>
        <p:spPr>
          <a:xfrm>
            <a:off x="60306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7" name="object 647"/>
          <p:cNvSpPr/>
          <p:nvPr/>
        </p:nvSpPr>
        <p:spPr>
          <a:xfrm>
            <a:off x="603605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8" name="object 648"/>
          <p:cNvSpPr/>
          <p:nvPr/>
        </p:nvSpPr>
        <p:spPr>
          <a:xfrm>
            <a:off x="60433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49" name="object 649"/>
          <p:cNvSpPr/>
          <p:nvPr/>
        </p:nvSpPr>
        <p:spPr>
          <a:xfrm>
            <a:off x="605060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0" name="object 650"/>
          <p:cNvSpPr/>
          <p:nvPr/>
        </p:nvSpPr>
        <p:spPr>
          <a:xfrm>
            <a:off x="60560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1" name="object 651"/>
          <p:cNvSpPr/>
          <p:nvPr/>
        </p:nvSpPr>
        <p:spPr>
          <a:xfrm>
            <a:off x="606332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2" name="object 652"/>
          <p:cNvSpPr/>
          <p:nvPr/>
        </p:nvSpPr>
        <p:spPr>
          <a:xfrm>
            <a:off x="60687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3" name="object 653"/>
          <p:cNvSpPr/>
          <p:nvPr/>
        </p:nvSpPr>
        <p:spPr>
          <a:xfrm>
            <a:off x="6076051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4" name="object 654"/>
          <p:cNvSpPr/>
          <p:nvPr/>
        </p:nvSpPr>
        <p:spPr>
          <a:xfrm>
            <a:off x="60815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5" name="object 655"/>
          <p:cNvSpPr/>
          <p:nvPr/>
        </p:nvSpPr>
        <p:spPr>
          <a:xfrm>
            <a:off x="608877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6" name="object 656"/>
          <p:cNvSpPr/>
          <p:nvPr/>
        </p:nvSpPr>
        <p:spPr>
          <a:xfrm>
            <a:off x="60942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7" name="object 657"/>
          <p:cNvSpPr/>
          <p:nvPr/>
        </p:nvSpPr>
        <p:spPr>
          <a:xfrm>
            <a:off x="610150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8" name="object 658"/>
          <p:cNvSpPr/>
          <p:nvPr/>
        </p:nvSpPr>
        <p:spPr>
          <a:xfrm>
            <a:off x="61069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59" name="object 659"/>
          <p:cNvSpPr/>
          <p:nvPr/>
        </p:nvSpPr>
        <p:spPr>
          <a:xfrm>
            <a:off x="611422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0" name="object 660"/>
          <p:cNvSpPr/>
          <p:nvPr/>
        </p:nvSpPr>
        <p:spPr>
          <a:xfrm>
            <a:off x="61196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1" name="object 661"/>
          <p:cNvSpPr/>
          <p:nvPr/>
        </p:nvSpPr>
        <p:spPr>
          <a:xfrm>
            <a:off x="612695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2" name="object 662"/>
          <p:cNvSpPr/>
          <p:nvPr/>
        </p:nvSpPr>
        <p:spPr>
          <a:xfrm>
            <a:off x="61324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3" name="object 663"/>
          <p:cNvSpPr/>
          <p:nvPr/>
        </p:nvSpPr>
        <p:spPr>
          <a:xfrm>
            <a:off x="613967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4" name="object 664"/>
          <p:cNvSpPr/>
          <p:nvPr/>
        </p:nvSpPr>
        <p:spPr>
          <a:xfrm>
            <a:off x="61451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5" name="object 665"/>
          <p:cNvSpPr/>
          <p:nvPr/>
        </p:nvSpPr>
        <p:spPr>
          <a:xfrm>
            <a:off x="615240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6" name="object 666"/>
          <p:cNvSpPr/>
          <p:nvPr/>
        </p:nvSpPr>
        <p:spPr>
          <a:xfrm>
            <a:off x="61578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7" name="object 667"/>
          <p:cNvSpPr/>
          <p:nvPr/>
        </p:nvSpPr>
        <p:spPr>
          <a:xfrm>
            <a:off x="616512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8" name="object 668"/>
          <p:cNvSpPr/>
          <p:nvPr/>
        </p:nvSpPr>
        <p:spPr>
          <a:xfrm>
            <a:off x="61705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69" name="object 669"/>
          <p:cNvSpPr/>
          <p:nvPr/>
        </p:nvSpPr>
        <p:spPr>
          <a:xfrm>
            <a:off x="617785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0" name="object 670"/>
          <p:cNvSpPr/>
          <p:nvPr/>
        </p:nvSpPr>
        <p:spPr>
          <a:xfrm>
            <a:off x="618330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1" name="object 671"/>
          <p:cNvSpPr/>
          <p:nvPr/>
        </p:nvSpPr>
        <p:spPr>
          <a:xfrm>
            <a:off x="619057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2" name="object 672"/>
          <p:cNvSpPr/>
          <p:nvPr/>
        </p:nvSpPr>
        <p:spPr>
          <a:xfrm>
            <a:off x="61960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3" name="object 673"/>
          <p:cNvSpPr/>
          <p:nvPr/>
        </p:nvSpPr>
        <p:spPr>
          <a:xfrm>
            <a:off x="620330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4" name="object 674"/>
          <p:cNvSpPr/>
          <p:nvPr/>
        </p:nvSpPr>
        <p:spPr>
          <a:xfrm>
            <a:off x="62087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5" name="object 675"/>
          <p:cNvSpPr/>
          <p:nvPr/>
        </p:nvSpPr>
        <p:spPr>
          <a:xfrm>
            <a:off x="6216027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6" name="object 676"/>
          <p:cNvSpPr/>
          <p:nvPr/>
        </p:nvSpPr>
        <p:spPr>
          <a:xfrm>
            <a:off x="622148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7" name="object 677"/>
          <p:cNvSpPr/>
          <p:nvPr/>
        </p:nvSpPr>
        <p:spPr>
          <a:xfrm>
            <a:off x="622875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8" name="object 678"/>
          <p:cNvSpPr/>
          <p:nvPr/>
        </p:nvSpPr>
        <p:spPr>
          <a:xfrm>
            <a:off x="62342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79" name="object 679"/>
          <p:cNvSpPr/>
          <p:nvPr/>
        </p:nvSpPr>
        <p:spPr>
          <a:xfrm>
            <a:off x="624147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0" name="object 680"/>
          <p:cNvSpPr/>
          <p:nvPr/>
        </p:nvSpPr>
        <p:spPr>
          <a:xfrm>
            <a:off x="62469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1" name="object 681"/>
          <p:cNvSpPr/>
          <p:nvPr/>
        </p:nvSpPr>
        <p:spPr>
          <a:xfrm>
            <a:off x="62542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2" name="object 682"/>
          <p:cNvSpPr/>
          <p:nvPr/>
        </p:nvSpPr>
        <p:spPr>
          <a:xfrm>
            <a:off x="625965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3" name="object 683"/>
          <p:cNvSpPr/>
          <p:nvPr/>
        </p:nvSpPr>
        <p:spPr>
          <a:xfrm>
            <a:off x="62669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4" name="object 684"/>
          <p:cNvSpPr/>
          <p:nvPr/>
        </p:nvSpPr>
        <p:spPr>
          <a:xfrm>
            <a:off x="627238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5" name="object 685"/>
          <p:cNvSpPr/>
          <p:nvPr/>
        </p:nvSpPr>
        <p:spPr>
          <a:xfrm>
            <a:off x="627965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6" name="object 686"/>
          <p:cNvSpPr/>
          <p:nvPr/>
        </p:nvSpPr>
        <p:spPr>
          <a:xfrm>
            <a:off x="628510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7" name="object 687"/>
          <p:cNvSpPr/>
          <p:nvPr/>
        </p:nvSpPr>
        <p:spPr>
          <a:xfrm>
            <a:off x="629237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8" name="object 688"/>
          <p:cNvSpPr/>
          <p:nvPr/>
        </p:nvSpPr>
        <p:spPr>
          <a:xfrm>
            <a:off x="629783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89" name="object 689"/>
          <p:cNvSpPr/>
          <p:nvPr/>
        </p:nvSpPr>
        <p:spPr>
          <a:xfrm>
            <a:off x="630510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0" name="object 690"/>
          <p:cNvSpPr/>
          <p:nvPr/>
        </p:nvSpPr>
        <p:spPr>
          <a:xfrm>
            <a:off x="631055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1" name="object 691"/>
          <p:cNvSpPr/>
          <p:nvPr/>
        </p:nvSpPr>
        <p:spPr>
          <a:xfrm>
            <a:off x="631782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2" name="object 692"/>
          <p:cNvSpPr/>
          <p:nvPr/>
        </p:nvSpPr>
        <p:spPr>
          <a:xfrm>
            <a:off x="632328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3" name="object 693"/>
          <p:cNvSpPr/>
          <p:nvPr/>
        </p:nvSpPr>
        <p:spPr>
          <a:xfrm>
            <a:off x="633055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4" name="object 694"/>
          <p:cNvSpPr/>
          <p:nvPr/>
        </p:nvSpPr>
        <p:spPr>
          <a:xfrm>
            <a:off x="633600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5" name="object 695"/>
          <p:cNvSpPr/>
          <p:nvPr/>
        </p:nvSpPr>
        <p:spPr>
          <a:xfrm>
            <a:off x="634327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6" name="object 696"/>
          <p:cNvSpPr/>
          <p:nvPr/>
        </p:nvSpPr>
        <p:spPr>
          <a:xfrm>
            <a:off x="634873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7" name="object 697"/>
          <p:cNvSpPr/>
          <p:nvPr/>
        </p:nvSpPr>
        <p:spPr>
          <a:xfrm>
            <a:off x="63560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8" name="object 698"/>
          <p:cNvSpPr/>
          <p:nvPr/>
        </p:nvSpPr>
        <p:spPr>
          <a:xfrm>
            <a:off x="636145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699" name="object 699"/>
          <p:cNvSpPr/>
          <p:nvPr/>
        </p:nvSpPr>
        <p:spPr>
          <a:xfrm>
            <a:off x="63687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0" name="object 700"/>
          <p:cNvSpPr/>
          <p:nvPr/>
        </p:nvSpPr>
        <p:spPr>
          <a:xfrm>
            <a:off x="637418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1" name="object 701"/>
          <p:cNvSpPr/>
          <p:nvPr/>
        </p:nvSpPr>
        <p:spPr>
          <a:xfrm>
            <a:off x="63814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2" name="object 702"/>
          <p:cNvSpPr/>
          <p:nvPr/>
        </p:nvSpPr>
        <p:spPr>
          <a:xfrm>
            <a:off x="638690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3" name="object 703"/>
          <p:cNvSpPr/>
          <p:nvPr/>
        </p:nvSpPr>
        <p:spPr>
          <a:xfrm>
            <a:off x="63941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4" name="object 704"/>
          <p:cNvSpPr/>
          <p:nvPr/>
        </p:nvSpPr>
        <p:spPr>
          <a:xfrm>
            <a:off x="6399633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5" name="object 705"/>
          <p:cNvSpPr/>
          <p:nvPr/>
        </p:nvSpPr>
        <p:spPr>
          <a:xfrm>
            <a:off x="640690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6" name="object 706"/>
          <p:cNvSpPr/>
          <p:nvPr/>
        </p:nvSpPr>
        <p:spPr>
          <a:xfrm>
            <a:off x="641235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7" name="object 707"/>
          <p:cNvSpPr/>
          <p:nvPr/>
        </p:nvSpPr>
        <p:spPr>
          <a:xfrm>
            <a:off x="64196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8" name="object 708"/>
          <p:cNvSpPr/>
          <p:nvPr/>
        </p:nvSpPr>
        <p:spPr>
          <a:xfrm>
            <a:off x="642508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09" name="object 709"/>
          <p:cNvSpPr/>
          <p:nvPr/>
        </p:nvSpPr>
        <p:spPr>
          <a:xfrm>
            <a:off x="6432355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0" name="object 710"/>
          <p:cNvSpPr/>
          <p:nvPr/>
        </p:nvSpPr>
        <p:spPr>
          <a:xfrm>
            <a:off x="6437809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1" name="object 711"/>
          <p:cNvSpPr/>
          <p:nvPr/>
        </p:nvSpPr>
        <p:spPr>
          <a:xfrm>
            <a:off x="64450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2" name="object 712"/>
          <p:cNvSpPr/>
          <p:nvPr/>
        </p:nvSpPr>
        <p:spPr>
          <a:xfrm>
            <a:off x="6450534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3" name="object 713"/>
          <p:cNvSpPr/>
          <p:nvPr/>
        </p:nvSpPr>
        <p:spPr>
          <a:xfrm>
            <a:off x="64578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4" name="object 714"/>
          <p:cNvSpPr/>
          <p:nvPr/>
        </p:nvSpPr>
        <p:spPr>
          <a:xfrm>
            <a:off x="6463258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5" name="object 715"/>
          <p:cNvSpPr/>
          <p:nvPr/>
        </p:nvSpPr>
        <p:spPr>
          <a:xfrm>
            <a:off x="6470531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6" name="object 716"/>
          <p:cNvSpPr/>
          <p:nvPr/>
        </p:nvSpPr>
        <p:spPr>
          <a:xfrm>
            <a:off x="647780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7" name="object 717"/>
          <p:cNvSpPr/>
          <p:nvPr/>
        </p:nvSpPr>
        <p:spPr>
          <a:xfrm>
            <a:off x="6483257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8" name="object 718"/>
          <p:cNvSpPr/>
          <p:nvPr/>
        </p:nvSpPr>
        <p:spPr>
          <a:xfrm>
            <a:off x="649052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19" name="object 719"/>
          <p:cNvSpPr/>
          <p:nvPr/>
        </p:nvSpPr>
        <p:spPr>
          <a:xfrm>
            <a:off x="649598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0" name="object 720"/>
          <p:cNvSpPr/>
          <p:nvPr/>
        </p:nvSpPr>
        <p:spPr>
          <a:xfrm>
            <a:off x="6503252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1" name="object 721"/>
          <p:cNvSpPr/>
          <p:nvPr/>
        </p:nvSpPr>
        <p:spPr>
          <a:xfrm>
            <a:off x="65087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2" name="object 722"/>
          <p:cNvSpPr/>
          <p:nvPr/>
        </p:nvSpPr>
        <p:spPr>
          <a:xfrm>
            <a:off x="6515979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3" name="object 723"/>
          <p:cNvSpPr/>
          <p:nvPr/>
        </p:nvSpPr>
        <p:spPr>
          <a:xfrm>
            <a:off x="6521430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4" name="object 724"/>
          <p:cNvSpPr/>
          <p:nvPr/>
        </p:nvSpPr>
        <p:spPr>
          <a:xfrm>
            <a:off x="6528703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5" name="object 725"/>
          <p:cNvSpPr/>
          <p:nvPr/>
        </p:nvSpPr>
        <p:spPr>
          <a:xfrm>
            <a:off x="653415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6" name="object 726"/>
          <p:cNvSpPr/>
          <p:nvPr/>
        </p:nvSpPr>
        <p:spPr>
          <a:xfrm>
            <a:off x="654142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7" name="object 727"/>
          <p:cNvSpPr/>
          <p:nvPr/>
        </p:nvSpPr>
        <p:spPr>
          <a:xfrm>
            <a:off x="654688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8" name="object 728"/>
          <p:cNvSpPr/>
          <p:nvPr/>
        </p:nvSpPr>
        <p:spPr>
          <a:xfrm>
            <a:off x="655415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29" name="object 729"/>
          <p:cNvSpPr/>
          <p:nvPr/>
        </p:nvSpPr>
        <p:spPr>
          <a:xfrm>
            <a:off x="6559606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0" name="object 730"/>
          <p:cNvSpPr/>
          <p:nvPr/>
        </p:nvSpPr>
        <p:spPr>
          <a:xfrm>
            <a:off x="656687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1" name="object 731"/>
          <p:cNvSpPr/>
          <p:nvPr/>
        </p:nvSpPr>
        <p:spPr>
          <a:xfrm>
            <a:off x="6572332" y="2793695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2" name="object 732"/>
          <p:cNvSpPr/>
          <p:nvPr/>
        </p:nvSpPr>
        <p:spPr>
          <a:xfrm>
            <a:off x="6579604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3" name="object 733"/>
          <p:cNvSpPr/>
          <p:nvPr/>
        </p:nvSpPr>
        <p:spPr>
          <a:xfrm>
            <a:off x="6585058" y="2793695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4" name="object 734"/>
          <p:cNvSpPr/>
          <p:nvPr/>
        </p:nvSpPr>
        <p:spPr>
          <a:xfrm>
            <a:off x="44872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5" name="object 735"/>
          <p:cNvSpPr/>
          <p:nvPr/>
        </p:nvSpPr>
        <p:spPr>
          <a:xfrm>
            <a:off x="449450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6" name="object 736"/>
          <p:cNvSpPr/>
          <p:nvPr/>
        </p:nvSpPr>
        <p:spPr>
          <a:xfrm>
            <a:off x="449995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7" name="object 737"/>
          <p:cNvSpPr/>
          <p:nvPr/>
        </p:nvSpPr>
        <p:spPr>
          <a:xfrm>
            <a:off x="450722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8" name="object 738"/>
          <p:cNvSpPr/>
          <p:nvPr/>
        </p:nvSpPr>
        <p:spPr>
          <a:xfrm>
            <a:off x="451267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39" name="object 739"/>
          <p:cNvSpPr/>
          <p:nvPr/>
        </p:nvSpPr>
        <p:spPr>
          <a:xfrm>
            <a:off x="451994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0" name="object 740"/>
          <p:cNvSpPr/>
          <p:nvPr/>
        </p:nvSpPr>
        <p:spPr>
          <a:xfrm>
            <a:off x="45254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1" name="object 741"/>
          <p:cNvSpPr/>
          <p:nvPr/>
        </p:nvSpPr>
        <p:spPr>
          <a:xfrm>
            <a:off x="453267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2" name="object 742"/>
          <p:cNvSpPr/>
          <p:nvPr/>
        </p:nvSpPr>
        <p:spPr>
          <a:xfrm>
            <a:off x="45381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3" name="object 743"/>
          <p:cNvSpPr/>
          <p:nvPr/>
        </p:nvSpPr>
        <p:spPr>
          <a:xfrm>
            <a:off x="454539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4" name="object 744"/>
          <p:cNvSpPr/>
          <p:nvPr/>
        </p:nvSpPr>
        <p:spPr>
          <a:xfrm>
            <a:off x="45508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5" name="object 745"/>
          <p:cNvSpPr/>
          <p:nvPr/>
        </p:nvSpPr>
        <p:spPr>
          <a:xfrm>
            <a:off x="455812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6" name="object 746"/>
          <p:cNvSpPr/>
          <p:nvPr/>
        </p:nvSpPr>
        <p:spPr>
          <a:xfrm>
            <a:off x="45635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7" name="object 747"/>
          <p:cNvSpPr/>
          <p:nvPr/>
        </p:nvSpPr>
        <p:spPr>
          <a:xfrm>
            <a:off x="457084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8" name="object 748"/>
          <p:cNvSpPr/>
          <p:nvPr/>
        </p:nvSpPr>
        <p:spPr>
          <a:xfrm>
            <a:off x="45763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49" name="object 749"/>
          <p:cNvSpPr/>
          <p:nvPr/>
        </p:nvSpPr>
        <p:spPr>
          <a:xfrm>
            <a:off x="458357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0" name="object 750"/>
          <p:cNvSpPr/>
          <p:nvPr/>
        </p:nvSpPr>
        <p:spPr>
          <a:xfrm>
            <a:off x="45890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1" name="object 751"/>
          <p:cNvSpPr/>
          <p:nvPr/>
        </p:nvSpPr>
        <p:spPr>
          <a:xfrm>
            <a:off x="45963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2" name="object 752"/>
          <p:cNvSpPr/>
          <p:nvPr/>
        </p:nvSpPr>
        <p:spPr>
          <a:xfrm>
            <a:off x="46017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3" name="object 753"/>
          <p:cNvSpPr/>
          <p:nvPr/>
        </p:nvSpPr>
        <p:spPr>
          <a:xfrm>
            <a:off x="460902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4" name="object 754"/>
          <p:cNvSpPr/>
          <p:nvPr/>
        </p:nvSpPr>
        <p:spPr>
          <a:xfrm>
            <a:off x="46144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5" name="object 755"/>
          <p:cNvSpPr/>
          <p:nvPr/>
        </p:nvSpPr>
        <p:spPr>
          <a:xfrm>
            <a:off x="462174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6" name="object 756"/>
          <p:cNvSpPr/>
          <p:nvPr/>
        </p:nvSpPr>
        <p:spPr>
          <a:xfrm>
            <a:off x="46272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7" name="object 757"/>
          <p:cNvSpPr/>
          <p:nvPr/>
        </p:nvSpPr>
        <p:spPr>
          <a:xfrm>
            <a:off x="463447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8" name="object 758"/>
          <p:cNvSpPr/>
          <p:nvPr/>
        </p:nvSpPr>
        <p:spPr>
          <a:xfrm>
            <a:off x="46399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59" name="object 759"/>
          <p:cNvSpPr/>
          <p:nvPr/>
        </p:nvSpPr>
        <p:spPr>
          <a:xfrm>
            <a:off x="464720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0" name="object 760"/>
          <p:cNvSpPr/>
          <p:nvPr/>
        </p:nvSpPr>
        <p:spPr>
          <a:xfrm>
            <a:off x="46526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1" name="object 761"/>
          <p:cNvSpPr/>
          <p:nvPr/>
        </p:nvSpPr>
        <p:spPr>
          <a:xfrm>
            <a:off x="465992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2" name="object 762"/>
          <p:cNvSpPr/>
          <p:nvPr/>
        </p:nvSpPr>
        <p:spPr>
          <a:xfrm>
            <a:off x="46653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3" name="object 763"/>
          <p:cNvSpPr/>
          <p:nvPr/>
        </p:nvSpPr>
        <p:spPr>
          <a:xfrm>
            <a:off x="467265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4" name="object 764"/>
          <p:cNvSpPr/>
          <p:nvPr/>
        </p:nvSpPr>
        <p:spPr>
          <a:xfrm>
            <a:off x="46781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5" name="object 765"/>
          <p:cNvSpPr/>
          <p:nvPr/>
        </p:nvSpPr>
        <p:spPr>
          <a:xfrm>
            <a:off x="468537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6" name="object 766"/>
          <p:cNvSpPr/>
          <p:nvPr/>
        </p:nvSpPr>
        <p:spPr>
          <a:xfrm>
            <a:off x="46908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7" name="object 767"/>
          <p:cNvSpPr/>
          <p:nvPr/>
        </p:nvSpPr>
        <p:spPr>
          <a:xfrm>
            <a:off x="46981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8" name="object 768"/>
          <p:cNvSpPr/>
          <p:nvPr/>
        </p:nvSpPr>
        <p:spPr>
          <a:xfrm>
            <a:off x="47035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69" name="object 769"/>
          <p:cNvSpPr/>
          <p:nvPr/>
        </p:nvSpPr>
        <p:spPr>
          <a:xfrm>
            <a:off x="47108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0" name="object 770"/>
          <p:cNvSpPr/>
          <p:nvPr/>
        </p:nvSpPr>
        <p:spPr>
          <a:xfrm>
            <a:off x="47162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1" name="object 771"/>
          <p:cNvSpPr/>
          <p:nvPr/>
        </p:nvSpPr>
        <p:spPr>
          <a:xfrm>
            <a:off x="472355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2" name="object 772"/>
          <p:cNvSpPr/>
          <p:nvPr/>
        </p:nvSpPr>
        <p:spPr>
          <a:xfrm>
            <a:off x="47290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3" name="object 773"/>
          <p:cNvSpPr/>
          <p:nvPr/>
        </p:nvSpPr>
        <p:spPr>
          <a:xfrm>
            <a:off x="473627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4" name="object 774"/>
          <p:cNvSpPr/>
          <p:nvPr/>
        </p:nvSpPr>
        <p:spPr>
          <a:xfrm>
            <a:off x="474354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5" name="object 775"/>
          <p:cNvSpPr/>
          <p:nvPr/>
        </p:nvSpPr>
        <p:spPr>
          <a:xfrm>
            <a:off x="47490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6" name="object 776"/>
          <p:cNvSpPr/>
          <p:nvPr/>
        </p:nvSpPr>
        <p:spPr>
          <a:xfrm>
            <a:off x="475627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7" name="object 777"/>
          <p:cNvSpPr/>
          <p:nvPr/>
        </p:nvSpPr>
        <p:spPr>
          <a:xfrm>
            <a:off x="476172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8" name="object 778"/>
          <p:cNvSpPr/>
          <p:nvPr/>
        </p:nvSpPr>
        <p:spPr>
          <a:xfrm>
            <a:off x="476899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79" name="object 779"/>
          <p:cNvSpPr/>
          <p:nvPr/>
        </p:nvSpPr>
        <p:spPr>
          <a:xfrm>
            <a:off x="477445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0" name="object 780"/>
          <p:cNvSpPr/>
          <p:nvPr/>
        </p:nvSpPr>
        <p:spPr>
          <a:xfrm>
            <a:off x="478172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1" name="object 781"/>
          <p:cNvSpPr/>
          <p:nvPr/>
        </p:nvSpPr>
        <p:spPr>
          <a:xfrm>
            <a:off x="478717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2" name="object 782"/>
          <p:cNvSpPr/>
          <p:nvPr/>
        </p:nvSpPr>
        <p:spPr>
          <a:xfrm>
            <a:off x="479444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3" name="object 783"/>
          <p:cNvSpPr/>
          <p:nvPr/>
        </p:nvSpPr>
        <p:spPr>
          <a:xfrm>
            <a:off x="47999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4" name="object 784"/>
          <p:cNvSpPr/>
          <p:nvPr/>
        </p:nvSpPr>
        <p:spPr>
          <a:xfrm>
            <a:off x="480717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5" name="object 785"/>
          <p:cNvSpPr/>
          <p:nvPr/>
        </p:nvSpPr>
        <p:spPr>
          <a:xfrm>
            <a:off x="48126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6" name="object 786"/>
          <p:cNvSpPr/>
          <p:nvPr/>
        </p:nvSpPr>
        <p:spPr>
          <a:xfrm>
            <a:off x="481989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7" name="object 787"/>
          <p:cNvSpPr/>
          <p:nvPr/>
        </p:nvSpPr>
        <p:spPr>
          <a:xfrm>
            <a:off x="482535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8" name="object 788"/>
          <p:cNvSpPr/>
          <p:nvPr/>
        </p:nvSpPr>
        <p:spPr>
          <a:xfrm>
            <a:off x="483262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89" name="object 789"/>
          <p:cNvSpPr/>
          <p:nvPr/>
        </p:nvSpPr>
        <p:spPr>
          <a:xfrm>
            <a:off x="483807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0" name="object 790"/>
          <p:cNvSpPr/>
          <p:nvPr/>
        </p:nvSpPr>
        <p:spPr>
          <a:xfrm>
            <a:off x="484534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1" name="object 791"/>
          <p:cNvSpPr/>
          <p:nvPr/>
        </p:nvSpPr>
        <p:spPr>
          <a:xfrm>
            <a:off x="48508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2" name="object 792"/>
          <p:cNvSpPr/>
          <p:nvPr/>
        </p:nvSpPr>
        <p:spPr>
          <a:xfrm>
            <a:off x="485807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3" name="object 793"/>
          <p:cNvSpPr/>
          <p:nvPr/>
        </p:nvSpPr>
        <p:spPr>
          <a:xfrm>
            <a:off x="48635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4" name="object 794"/>
          <p:cNvSpPr/>
          <p:nvPr/>
        </p:nvSpPr>
        <p:spPr>
          <a:xfrm>
            <a:off x="487080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5" name="object 795"/>
          <p:cNvSpPr/>
          <p:nvPr/>
        </p:nvSpPr>
        <p:spPr>
          <a:xfrm>
            <a:off x="487625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6" name="object 796"/>
          <p:cNvSpPr/>
          <p:nvPr/>
        </p:nvSpPr>
        <p:spPr>
          <a:xfrm>
            <a:off x="488352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7" name="object 797"/>
          <p:cNvSpPr/>
          <p:nvPr/>
        </p:nvSpPr>
        <p:spPr>
          <a:xfrm>
            <a:off x="48889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8" name="object 798"/>
          <p:cNvSpPr/>
          <p:nvPr/>
        </p:nvSpPr>
        <p:spPr>
          <a:xfrm>
            <a:off x="489625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99" name="object 799"/>
          <p:cNvSpPr/>
          <p:nvPr/>
        </p:nvSpPr>
        <p:spPr>
          <a:xfrm>
            <a:off x="49017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0" name="object 800"/>
          <p:cNvSpPr/>
          <p:nvPr/>
        </p:nvSpPr>
        <p:spPr>
          <a:xfrm>
            <a:off x="490897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1" name="object 801"/>
          <p:cNvSpPr/>
          <p:nvPr/>
        </p:nvSpPr>
        <p:spPr>
          <a:xfrm>
            <a:off x="49144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2" name="object 802"/>
          <p:cNvSpPr/>
          <p:nvPr/>
        </p:nvSpPr>
        <p:spPr>
          <a:xfrm>
            <a:off x="492170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3" name="object 803"/>
          <p:cNvSpPr/>
          <p:nvPr/>
        </p:nvSpPr>
        <p:spPr>
          <a:xfrm>
            <a:off x="49271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4" name="object 804"/>
          <p:cNvSpPr/>
          <p:nvPr/>
        </p:nvSpPr>
        <p:spPr>
          <a:xfrm>
            <a:off x="493442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5" name="object 805"/>
          <p:cNvSpPr/>
          <p:nvPr/>
        </p:nvSpPr>
        <p:spPr>
          <a:xfrm>
            <a:off x="49398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6" name="object 806"/>
          <p:cNvSpPr/>
          <p:nvPr/>
        </p:nvSpPr>
        <p:spPr>
          <a:xfrm>
            <a:off x="4947151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7" name="object 807"/>
          <p:cNvSpPr/>
          <p:nvPr/>
        </p:nvSpPr>
        <p:spPr>
          <a:xfrm>
            <a:off x="49526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8" name="object 808"/>
          <p:cNvSpPr/>
          <p:nvPr/>
        </p:nvSpPr>
        <p:spPr>
          <a:xfrm>
            <a:off x="495987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09" name="object 809"/>
          <p:cNvSpPr/>
          <p:nvPr/>
        </p:nvSpPr>
        <p:spPr>
          <a:xfrm>
            <a:off x="49653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0" name="object 810"/>
          <p:cNvSpPr/>
          <p:nvPr/>
        </p:nvSpPr>
        <p:spPr>
          <a:xfrm>
            <a:off x="49726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1" name="object 811"/>
          <p:cNvSpPr/>
          <p:nvPr/>
        </p:nvSpPr>
        <p:spPr>
          <a:xfrm>
            <a:off x="49780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2" name="object 812"/>
          <p:cNvSpPr/>
          <p:nvPr/>
        </p:nvSpPr>
        <p:spPr>
          <a:xfrm>
            <a:off x="498532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3" name="object 813"/>
          <p:cNvSpPr/>
          <p:nvPr/>
        </p:nvSpPr>
        <p:spPr>
          <a:xfrm>
            <a:off x="49907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4" name="object 814"/>
          <p:cNvSpPr/>
          <p:nvPr/>
        </p:nvSpPr>
        <p:spPr>
          <a:xfrm>
            <a:off x="499805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5" name="object 815"/>
          <p:cNvSpPr/>
          <p:nvPr/>
        </p:nvSpPr>
        <p:spPr>
          <a:xfrm>
            <a:off x="50035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6" name="object 816"/>
          <p:cNvSpPr/>
          <p:nvPr/>
        </p:nvSpPr>
        <p:spPr>
          <a:xfrm>
            <a:off x="501077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7" name="object 817"/>
          <p:cNvSpPr/>
          <p:nvPr/>
        </p:nvSpPr>
        <p:spPr>
          <a:xfrm>
            <a:off x="50162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8" name="object 818"/>
          <p:cNvSpPr/>
          <p:nvPr/>
        </p:nvSpPr>
        <p:spPr>
          <a:xfrm>
            <a:off x="502350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19" name="object 819"/>
          <p:cNvSpPr/>
          <p:nvPr/>
        </p:nvSpPr>
        <p:spPr>
          <a:xfrm>
            <a:off x="50289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0" name="object 820"/>
          <p:cNvSpPr/>
          <p:nvPr/>
        </p:nvSpPr>
        <p:spPr>
          <a:xfrm>
            <a:off x="503622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1" name="object 821"/>
          <p:cNvSpPr/>
          <p:nvPr/>
        </p:nvSpPr>
        <p:spPr>
          <a:xfrm>
            <a:off x="50416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2" name="object 822"/>
          <p:cNvSpPr/>
          <p:nvPr/>
        </p:nvSpPr>
        <p:spPr>
          <a:xfrm>
            <a:off x="504895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3" name="object 823"/>
          <p:cNvSpPr/>
          <p:nvPr/>
        </p:nvSpPr>
        <p:spPr>
          <a:xfrm>
            <a:off x="50544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4" name="object 824"/>
          <p:cNvSpPr/>
          <p:nvPr/>
        </p:nvSpPr>
        <p:spPr>
          <a:xfrm>
            <a:off x="506167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5" name="object 825"/>
          <p:cNvSpPr/>
          <p:nvPr/>
        </p:nvSpPr>
        <p:spPr>
          <a:xfrm>
            <a:off x="50671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6" name="object 826"/>
          <p:cNvSpPr/>
          <p:nvPr/>
        </p:nvSpPr>
        <p:spPr>
          <a:xfrm>
            <a:off x="50744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7" name="object 827"/>
          <p:cNvSpPr/>
          <p:nvPr/>
        </p:nvSpPr>
        <p:spPr>
          <a:xfrm>
            <a:off x="50798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8" name="object 828"/>
          <p:cNvSpPr/>
          <p:nvPr/>
        </p:nvSpPr>
        <p:spPr>
          <a:xfrm>
            <a:off x="508712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29" name="object 829"/>
          <p:cNvSpPr/>
          <p:nvPr/>
        </p:nvSpPr>
        <p:spPr>
          <a:xfrm>
            <a:off x="50925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0" name="object 830"/>
          <p:cNvSpPr/>
          <p:nvPr/>
        </p:nvSpPr>
        <p:spPr>
          <a:xfrm>
            <a:off x="509985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1" name="object 831"/>
          <p:cNvSpPr/>
          <p:nvPr/>
        </p:nvSpPr>
        <p:spPr>
          <a:xfrm>
            <a:off x="51053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2" name="object 832"/>
          <p:cNvSpPr/>
          <p:nvPr/>
        </p:nvSpPr>
        <p:spPr>
          <a:xfrm>
            <a:off x="511257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3" name="object 833"/>
          <p:cNvSpPr/>
          <p:nvPr/>
        </p:nvSpPr>
        <p:spPr>
          <a:xfrm>
            <a:off x="51180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4" name="object 834"/>
          <p:cNvSpPr/>
          <p:nvPr/>
        </p:nvSpPr>
        <p:spPr>
          <a:xfrm>
            <a:off x="51253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5" name="object 835"/>
          <p:cNvSpPr/>
          <p:nvPr/>
        </p:nvSpPr>
        <p:spPr>
          <a:xfrm>
            <a:off x="51307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6" name="object 836"/>
          <p:cNvSpPr/>
          <p:nvPr/>
        </p:nvSpPr>
        <p:spPr>
          <a:xfrm>
            <a:off x="51380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7" name="object 837"/>
          <p:cNvSpPr/>
          <p:nvPr/>
        </p:nvSpPr>
        <p:spPr>
          <a:xfrm>
            <a:off x="51434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8" name="object 838"/>
          <p:cNvSpPr/>
          <p:nvPr/>
        </p:nvSpPr>
        <p:spPr>
          <a:xfrm>
            <a:off x="515075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39" name="object 839"/>
          <p:cNvSpPr/>
          <p:nvPr/>
        </p:nvSpPr>
        <p:spPr>
          <a:xfrm>
            <a:off x="51562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0" name="object 840"/>
          <p:cNvSpPr/>
          <p:nvPr/>
        </p:nvSpPr>
        <p:spPr>
          <a:xfrm>
            <a:off x="51634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1" name="object 841"/>
          <p:cNvSpPr/>
          <p:nvPr/>
        </p:nvSpPr>
        <p:spPr>
          <a:xfrm>
            <a:off x="51689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2" name="object 842"/>
          <p:cNvSpPr/>
          <p:nvPr/>
        </p:nvSpPr>
        <p:spPr>
          <a:xfrm>
            <a:off x="51762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3" name="object 843"/>
          <p:cNvSpPr/>
          <p:nvPr/>
        </p:nvSpPr>
        <p:spPr>
          <a:xfrm>
            <a:off x="518347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4" name="object 844"/>
          <p:cNvSpPr/>
          <p:nvPr/>
        </p:nvSpPr>
        <p:spPr>
          <a:xfrm>
            <a:off x="51889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5" name="object 845"/>
          <p:cNvSpPr/>
          <p:nvPr/>
        </p:nvSpPr>
        <p:spPr>
          <a:xfrm>
            <a:off x="519619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6" name="object 846"/>
          <p:cNvSpPr/>
          <p:nvPr/>
        </p:nvSpPr>
        <p:spPr>
          <a:xfrm>
            <a:off x="52016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7" name="object 847"/>
          <p:cNvSpPr/>
          <p:nvPr/>
        </p:nvSpPr>
        <p:spPr>
          <a:xfrm>
            <a:off x="5208926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8" name="object 848"/>
          <p:cNvSpPr/>
          <p:nvPr/>
        </p:nvSpPr>
        <p:spPr>
          <a:xfrm>
            <a:off x="521437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49" name="object 849"/>
          <p:cNvSpPr/>
          <p:nvPr/>
        </p:nvSpPr>
        <p:spPr>
          <a:xfrm>
            <a:off x="522165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0" name="object 850"/>
          <p:cNvSpPr/>
          <p:nvPr/>
        </p:nvSpPr>
        <p:spPr>
          <a:xfrm>
            <a:off x="52271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1" name="object 851"/>
          <p:cNvSpPr/>
          <p:nvPr/>
        </p:nvSpPr>
        <p:spPr>
          <a:xfrm>
            <a:off x="523437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2" name="object 852"/>
          <p:cNvSpPr/>
          <p:nvPr/>
        </p:nvSpPr>
        <p:spPr>
          <a:xfrm>
            <a:off x="52398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3" name="object 853"/>
          <p:cNvSpPr/>
          <p:nvPr/>
        </p:nvSpPr>
        <p:spPr>
          <a:xfrm>
            <a:off x="524709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4" name="object 854"/>
          <p:cNvSpPr/>
          <p:nvPr/>
        </p:nvSpPr>
        <p:spPr>
          <a:xfrm>
            <a:off x="52525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5" name="object 855"/>
          <p:cNvSpPr/>
          <p:nvPr/>
        </p:nvSpPr>
        <p:spPr>
          <a:xfrm>
            <a:off x="525982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6" name="object 856"/>
          <p:cNvSpPr/>
          <p:nvPr/>
        </p:nvSpPr>
        <p:spPr>
          <a:xfrm>
            <a:off x="526527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7" name="object 857"/>
          <p:cNvSpPr/>
          <p:nvPr/>
        </p:nvSpPr>
        <p:spPr>
          <a:xfrm>
            <a:off x="527255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8" name="object 858"/>
          <p:cNvSpPr/>
          <p:nvPr/>
        </p:nvSpPr>
        <p:spPr>
          <a:xfrm>
            <a:off x="52780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59" name="object 859"/>
          <p:cNvSpPr/>
          <p:nvPr/>
        </p:nvSpPr>
        <p:spPr>
          <a:xfrm>
            <a:off x="528527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0" name="object 860"/>
          <p:cNvSpPr/>
          <p:nvPr/>
        </p:nvSpPr>
        <p:spPr>
          <a:xfrm>
            <a:off x="52907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1" name="object 861"/>
          <p:cNvSpPr/>
          <p:nvPr/>
        </p:nvSpPr>
        <p:spPr>
          <a:xfrm>
            <a:off x="5298001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2" name="object 862"/>
          <p:cNvSpPr/>
          <p:nvPr/>
        </p:nvSpPr>
        <p:spPr>
          <a:xfrm>
            <a:off x="53034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3" name="object 863"/>
          <p:cNvSpPr/>
          <p:nvPr/>
        </p:nvSpPr>
        <p:spPr>
          <a:xfrm>
            <a:off x="531072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4" name="object 864"/>
          <p:cNvSpPr/>
          <p:nvPr/>
        </p:nvSpPr>
        <p:spPr>
          <a:xfrm>
            <a:off x="53161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5" name="object 865"/>
          <p:cNvSpPr/>
          <p:nvPr/>
        </p:nvSpPr>
        <p:spPr>
          <a:xfrm>
            <a:off x="532345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6" name="object 866"/>
          <p:cNvSpPr/>
          <p:nvPr/>
        </p:nvSpPr>
        <p:spPr>
          <a:xfrm>
            <a:off x="53289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7" name="object 867"/>
          <p:cNvSpPr/>
          <p:nvPr/>
        </p:nvSpPr>
        <p:spPr>
          <a:xfrm>
            <a:off x="5336176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8" name="object 868"/>
          <p:cNvSpPr/>
          <p:nvPr/>
        </p:nvSpPr>
        <p:spPr>
          <a:xfrm>
            <a:off x="53416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69" name="object 869"/>
          <p:cNvSpPr/>
          <p:nvPr/>
        </p:nvSpPr>
        <p:spPr>
          <a:xfrm>
            <a:off x="5348901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0" name="object 870"/>
          <p:cNvSpPr/>
          <p:nvPr/>
        </p:nvSpPr>
        <p:spPr>
          <a:xfrm>
            <a:off x="53543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1" name="object 871"/>
          <p:cNvSpPr/>
          <p:nvPr/>
        </p:nvSpPr>
        <p:spPr>
          <a:xfrm>
            <a:off x="536162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2" name="object 872"/>
          <p:cNvSpPr/>
          <p:nvPr/>
        </p:nvSpPr>
        <p:spPr>
          <a:xfrm>
            <a:off x="53670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3" name="object 873"/>
          <p:cNvSpPr/>
          <p:nvPr/>
        </p:nvSpPr>
        <p:spPr>
          <a:xfrm>
            <a:off x="5374351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4" name="object 874"/>
          <p:cNvSpPr/>
          <p:nvPr/>
        </p:nvSpPr>
        <p:spPr>
          <a:xfrm>
            <a:off x="53798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5" name="object 875"/>
          <p:cNvSpPr/>
          <p:nvPr/>
        </p:nvSpPr>
        <p:spPr>
          <a:xfrm>
            <a:off x="538707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6" name="object 876"/>
          <p:cNvSpPr/>
          <p:nvPr/>
        </p:nvSpPr>
        <p:spPr>
          <a:xfrm>
            <a:off x="53925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7" name="object 877"/>
          <p:cNvSpPr/>
          <p:nvPr/>
        </p:nvSpPr>
        <p:spPr>
          <a:xfrm>
            <a:off x="53998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8" name="object 878"/>
          <p:cNvSpPr/>
          <p:nvPr/>
        </p:nvSpPr>
        <p:spPr>
          <a:xfrm>
            <a:off x="54052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79" name="object 879"/>
          <p:cNvSpPr/>
          <p:nvPr/>
        </p:nvSpPr>
        <p:spPr>
          <a:xfrm>
            <a:off x="541252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0" name="object 880"/>
          <p:cNvSpPr/>
          <p:nvPr/>
        </p:nvSpPr>
        <p:spPr>
          <a:xfrm>
            <a:off x="54179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1" name="object 881"/>
          <p:cNvSpPr/>
          <p:nvPr/>
        </p:nvSpPr>
        <p:spPr>
          <a:xfrm>
            <a:off x="54252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2" name="object 882"/>
          <p:cNvSpPr/>
          <p:nvPr/>
        </p:nvSpPr>
        <p:spPr>
          <a:xfrm>
            <a:off x="54307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3" name="object 883"/>
          <p:cNvSpPr/>
          <p:nvPr/>
        </p:nvSpPr>
        <p:spPr>
          <a:xfrm>
            <a:off x="543797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4" name="object 884"/>
          <p:cNvSpPr/>
          <p:nvPr/>
        </p:nvSpPr>
        <p:spPr>
          <a:xfrm>
            <a:off x="54434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5" name="object 885"/>
          <p:cNvSpPr/>
          <p:nvPr/>
        </p:nvSpPr>
        <p:spPr>
          <a:xfrm>
            <a:off x="545070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6" name="object 886"/>
          <p:cNvSpPr/>
          <p:nvPr/>
        </p:nvSpPr>
        <p:spPr>
          <a:xfrm>
            <a:off x="54561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7" name="object 887"/>
          <p:cNvSpPr/>
          <p:nvPr/>
        </p:nvSpPr>
        <p:spPr>
          <a:xfrm>
            <a:off x="54634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8" name="object 888"/>
          <p:cNvSpPr/>
          <p:nvPr/>
        </p:nvSpPr>
        <p:spPr>
          <a:xfrm>
            <a:off x="54688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89" name="object 889"/>
          <p:cNvSpPr/>
          <p:nvPr/>
        </p:nvSpPr>
        <p:spPr>
          <a:xfrm>
            <a:off x="547615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0" name="object 890"/>
          <p:cNvSpPr/>
          <p:nvPr/>
        </p:nvSpPr>
        <p:spPr>
          <a:xfrm>
            <a:off x="548160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1" name="object 891"/>
          <p:cNvSpPr/>
          <p:nvPr/>
        </p:nvSpPr>
        <p:spPr>
          <a:xfrm>
            <a:off x="548887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2" name="object 892"/>
          <p:cNvSpPr/>
          <p:nvPr/>
        </p:nvSpPr>
        <p:spPr>
          <a:xfrm>
            <a:off x="54943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3" name="object 893"/>
          <p:cNvSpPr/>
          <p:nvPr/>
        </p:nvSpPr>
        <p:spPr>
          <a:xfrm>
            <a:off x="55016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4" name="object 894"/>
          <p:cNvSpPr/>
          <p:nvPr/>
        </p:nvSpPr>
        <p:spPr>
          <a:xfrm>
            <a:off x="55070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5" name="object 895"/>
          <p:cNvSpPr/>
          <p:nvPr/>
        </p:nvSpPr>
        <p:spPr>
          <a:xfrm>
            <a:off x="551432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6" name="object 896"/>
          <p:cNvSpPr/>
          <p:nvPr/>
        </p:nvSpPr>
        <p:spPr>
          <a:xfrm>
            <a:off x="55197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7" name="object 897"/>
          <p:cNvSpPr/>
          <p:nvPr/>
        </p:nvSpPr>
        <p:spPr>
          <a:xfrm>
            <a:off x="55270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8" name="object 898"/>
          <p:cNvSpPr/>
          <p:nvPr/>
        </p:nvSpPr>
        <p:spPr>
          <a:xfrm>
            <a:off x="55325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899" name="object 899"/>
          <p:cNvSpPr/>
          <p:nvPr/>
        </p:nvSpPr>
        <p:spPr>
          <a:xfrm>
            <a:off x="55397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0" name="object 900"/>
          <p:cNvSpPr/>
          <p:nvPr/>
        </p:nvSpPr>
        <p:spPr>
          <a:xfrm>
            <a:off x="55452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1" name="object 901"/>
          <p:cNvSpPr/>
          <p:nvPr/>
        </p:nvSpPr>
        <p:spPr>
          <a:xfrm>
            <a:off x="55525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2" name="object 902"/>
          <p:cNvSpPr/>
          <p:nvPr/>
        </p:nvSpPr>
        <p:spPr>
          <a:xfrm>
            <a:off x="55579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3" name="object 903"/>
          <p:cNvSpPr/>
          <p:nvPr/>
        </p:nvSpPr>
        <p:spPr>
          <a:xfrm>
            <a:off x="55652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4" name="object 904"/>
          <p:cNvSpPr/>
          <p:nvPr/>
        </p:nvSpPr>
        <p:spPr>
          <a:xfrm>
            <a:off x="55706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5" name="object 905"/>
          <p:cNvSpPr/>
          <p:nvPr/>
        </p:nvSpPr>
        <p:spPr>
          <a:xfrm>
            <a:off x="55779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6" name="object 906"/>
          <p:cNvSpPr/>
          <p:nvPr/>
        </p:nvSpPr>
        <p:spPr>
          <a:xfrm>
            <a:off x="55834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7" name="object 907"/>
          <p:cNvSpPr/>
          <p:nvPr/>
        </p:nvSpPr>
        <p:spPr>
          <a:xfrm>
            <a:off x="55906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8" name="object 908"/>
          <p:cNvSpPr/>
          <p:nvPr/>
        </p:nvSpPr>
        <p:spPr>
          <a:xfrm>
            <a:off x="559613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09" name="object 909"/>
          <p:cNvSpPr/>
          <p:nvPr/>
        </p:nvSpPr>
        <p:spPr>
          <a:xfrm>
            <a:off x="56034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0" name="object 910"/>
          <p:cNvSpPr/>
          <p:nvPr/>
        </p:nvSpPr>
        <p:spPr>
          <a:xfrm>
            <a:off x="561067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1" name="object 911"/>
          <p:cNvSpPr/>
          <p:nvPr/>
        </p:nvSpPr>
        <p:spPr>
          <a:xfrm>
            <a:off x="56161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2" name="object 912"/>
          <p:cNvSpPr/>
          <p:nvPr/>
        </p:nvSpPr>
        <p:spPr>
          <a:xfrm>
            <a:off x="562340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3" name="object 913"/>
          <p:cNvSpPr/>
          <p:nvPr/>
        </p:nvSpPr>
        <p:spPr>
          <a:xfrm>
            <a:off x="56288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4" name="object 914"/>
          <p:cNvSpPr/>
          <p:nvPr/>
        </p:nvSpPr>
        <p:spPr>
          <a:xfrm>
            <a:off x="5636125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5" name="object 915"/>
          <p:cNvSpPr/>
          <p:nvPr/>
        </p:nvSpPr>
        <p:spPr>
          <a:xfrm>
            <a:off x="56415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6" name="object 916"/>
          <p:cNvSpPr/>
          <p:nvPr/>
        </p:nvSpPr>
        <p:spPr>
          <a:xfrm>
            <a:off x="564885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7" name="object 917"/>
          <p:cNvSpPr/>
          <p:nvPr/>
        </p:nvSpPr>
        <p:spPr>
          <a:xfrm>
            <a:off x="56543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8" name="object 918"/>
          <p:cNvSpPr/>
          <p:nvPr/>
        </p:nvSpPr>
        <p:spPr>
          <a:xfrm>
            <a:off x="5661576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19" name="object 919"/>
          <p:cNvSpPr/>
          <p:nvPr/>
        </p:nvSpPr>
        <p:spPr>
          <a:xfrm>
            <a:off x="56670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0" name="object 920"/>
          <p:cNvSpPr/>
          <p:nvPr/>
        </p:nvSpPr>
        <p:spPr>
          <a:xfrm>
            <a:off x="5674300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1" name="object 921"/>
          <p:cNvSpPr/>
          <p:nvPr/>
        </p:nvSpPr>
        <p:spPr>
          <a:xfrm>
            <a:off x="56797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2" name="object 922"/>
          <p:cNvSpPr/>
          <p:nvPr/>
        </p:nvSpPr>
        <p:spPr>
          <a:xfrm>
            <a:off x="568702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3" name="object 923"/>
          <p:cNvSpPr/>
          <p:nvPr/>
        </p:nvSpPr>
        <p:spPr>
          <a:xfrm>
            <a:off x="56924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4" name="object 924"/>
          <p:cNvSpPr/>
          <p:nvPr/>
        </p:nvSpPr>
        <p:spPr>
          <a:xfrm>
            <a:off x="5699751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5" name="object 925"/>
          <p:cNvSpPr/>
          <p:nvPr/>
        </p:nvSpPr>
        <p:spPr>
          <a:xfrm>
            <a:off x="57052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6" name="object 926"/>
          <p:cNvSpPr/>
          <p:nvPr/>
        </p:nvSpPr>
        <p:spPr>
          <a:xfrm>
            <a:off x="5712476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7" name="object 927"/>
          <p:cNvSpPr/>
          <p:nvPr/>
        </p:nvSpPr>
        <p:spPr>
          <a:xfrm>
            <a:off x="57179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8" name="object 928"/>
          <p:cNvSpPr/>
          <p:nvPr/>
        </p:nvSpPr>
        <p:spPr>
          <a:xfrm>
            <a:off x="572520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29" name="object 929"/>
          <p:cNvSpPr/>
          <p:nvPr/>
        </p:nvSpPr>
        <p:spPr>
          <a:xfrm>
            <a:off x="57306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0" name="object 930"/>
          <p:cNvSpPr/>
          <p:nvPr/>
        </p:nvSpPr>
        <p:spPr>
          <a:xfrm>
            <a:off x="5737926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1" name="object 931"/>
          <p:cNvSpPr/>
          <p:nvPr/>
        </p:nvSpPr>
        <p:spPr>
          <a:xfrm>
            <a:off x="57433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2" name="object 932"/>
          <p:cNvSpPr/>
          <p:nvPr/>
        </p:nvSpPr>
        <p:spPr>
          <a:xfrm>
            <a:off x="575065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3" name="object 933"/>
          <p:cNvSpPr/>
          <p:nvPr/>
        </p:nvSpPr>
        <p:spPr>
          <a:xfrm>
            <a:off x="57561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4" name="object 934"/>
          <p:cNvSpPr/>
          <p:nvPr/>
        </p:nvSpPr>
        <p:spPr>
          <a:xfrm>
            <a:off x="5763376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5" name="object 935"/>
          <p:cNvSpPr/>
          <p:nvPr/>
        </p:nvSpPr>
        <p:spPr>
          <a:xfrm>
            <a:off x="57688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6" name="object 936"/>
          <p:cNvSpPr/>
          <p:nvPr/>
        </p:nvSpPr>
        <p:spPr>
          <a:xfrm>
            <a:off x="577610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7" name="object 937"/>
          <p:cNvSpPr/>
          <p:nvPr/>
        </p:nvSpPr>
        <p:spPr>
          <a:xfrm>
            <a:off x="57815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8" name="object 938"/>
          <p:cNvSpPr/>
          <p:nvPr/>
        </p:nvSpPr>
        <p:spPr>
          <a:xfrm>
            <a:off x="578882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39" name="object 939"/>
          <p:cNvSpPr/>
          <p:nvPr/>
        </p:nvSpPr>
        <p:spPr>
          <a:xfrm>
            <a:off x="57942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0" name="object 940"/>
          <p:cNvSpPr/>
          <p:nvPr/>
        </p:nvSpPr>
        <p:spPr>
          <a:xfrm>
            <a:off x="580155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1" name="object 941"/>
          <p:cNvSpPr/>
          <p:nvPr/>
        </p:nvSpPr>
        <p:spPr>
          <a:xfrm>
            <a:off x="58070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2" name="object 942"/>
          <p:cNvSpPr/>
          <p:nvPr/>
        </p:nvSpPr>
        <p:spPr>
          <a:xfrm>
            <a:off x="581427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3" name="object 943"/>
          <p:cNvSpPr/>
          <p:nvPr/>
        </p:nvSpPr>
        <p:spPr>
          <a:xfrm>
            <a:off x="58197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4" name="object 944"/>
          <p:cNvSpPr/>
          <p:nvPr/>
        </p:nvSpPr>
        <p:spPr>
          <a:xfrm>
            <a:off x="58270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5" name="object 945"/>
          <p:cNvSpPr/>
          <p:nvPr/>
        </p:nvSpPr>
        <p:spPr>
          <a:xfrm>
            <a:off x="58324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6" name="object 946"/>
          <p:cNvSpPr/>
          <p:nvPr/>
        </p:nvSpPr>
        <p:spPr>
          <a:xfrm>
            <a:off x="583972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7" name="object 947"/>
          <p:cNvSpPr/>
          <p:nvPr/>
        </p:nvSpPr>
        <p:spPr>
          <a:xfrm>
            <a:off x="58451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8" name="object 948"/>
          <p:cNvSpPr/>
          <p:nvPr/>
        </p:nvSpPr>
        <p:spPr>
          <a:xfrm>
            <a:off x="585245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49" name="object 949"/>
          <p:cNvSpPr/>
          <p:nvPr/>
        </p:nvSpPr>
        <p:spPr>
          <a:xfrm>
            <a:off x="585790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0" name="object 950"/>
          <p:cNvSpPr/>
          <p:nvPr/>
        </p:nvSpPr>
        <p:spPr>
          <a:xfrm>
            <a:off x="586517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1" name="object 951"/>
          <p:cNvSpPr/>
          <p:nvPr/>
        </p:nvSpPr>
        <p:spPr>
          <a:xfrm>
            <a:off x="58706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2" name="object 952"/>
          <p:cNvSpPr/>
          <p:nvPr/>
        </p:nvSpPr>
        <p:spPr>
          <a:xfrm>
            <a:off x="587790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3" name="object 953"/>
          <p:cNvSpPr/>
          <p:nvPr/>
        </p:nvSpPr>
        <p:spPr>
          <a:xfrm>
            <a:off x="58833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4" name="object 954"/>
          <p:cNvSpPr/>
          <p:nvPr/>
        </p:nvSpPr>
        <p:spPr>
          <a:xfrm>
            <a:off x="58906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5" name="object 955"/>
          <p:cNvSpPr/>
          <p:nvPr/>
        </p:nvSpPr>
        <p:spPr>
          <a:xfrm>
            <a:off x="58960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6" name="object 956"/>
          <p:cNvSpPr/>
          <p:nvPr/>
        </p:nvSpPr>
        <p:spPr>
          <a:xfrm>
            <a:off x="59033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7" name="object 957"/>
          <p:cNvSpPr/>
          <p:nvPr/>
        </p:nvSpPr>
        <p:spPr>
          <a:xfrm>
            <a:off x="59088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8" name="object 958"/>
          <p:cNvSpPr/>
          <p:nvPr/>
        </p:nvSpPr>
        <p:spPr>
          <a:xfrm>
            <a:off x="59160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59" name="object 959"/>
          <p:cNvSpPr/>
          <p:nvPr/>
        </p:nvSpPr>
        <p:spPr>
          <a:xfrm>
            <a:off x="59215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0" name="object 960"/>
          <p:cNvSpPr/>
          <p:nvPr/>
        </p:nvSpPr>
        <p:spPr>
          <a:xfrm>
            <a:off x="59288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1" name="object 961"/>
          <p:cNvSpPr/>
          <p:nvPr/>
        </p:nvSpPr>
        <p:spPr>
          <a:xfrm>
            <a:off x="59342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2" name="object 962"/>
          <p:cNvSpPr/>
          <p:nvPr/>
        </p:nvSpPr>
        <p:spPr>
          <a:xfrm>
            <a:off x="594152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3" name="object 963"/>
          <p:cNvSpPr/>
          <p:nvPr/>
        </p:nvSpPr>
        <p:spPr>
          <a:xfrm>
            <a:off x="594698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4" name="object 964"/>
          <p:cNvSpPr/>
          <p:nvPr/>
        </p:nvSpPr>
        <p:spPr>
          <a:xfrm>
            <a:off x="59542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5" name="object 965"/>
          <p:cNvSpPr/>
          <p:nvPr/>
        </p:nvSpPr>
        <p:spPr>
          <a:xfrm>
            <a:off x="595970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6" name="object 966"/>
          <p:cNvSpPr/>
          <p:nvPr/>
        </p:nvSpPr>
        <p:spPr>
          <a:xfrm>
            <a:off x="59669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7" name="object 967"/>
          <p:cNvSpPr/>
          <p:nvPr/>
        </p:nvSpPr>
        <p:spPr>
          <a:xfrm>
            <a:off x="597243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8" name="object 968"/>
          <p:cNvSpPr/>
          <p:nvPr/>
        </p:nvSpPr>
        <p:spPr>
          <a:xfrm>
            <a:off x="59797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69" name="object 969"/>
          <p:cNvSpPr/>
          <p:nvPr/>
        </p:nvSpPr>
        <p:spPr>
          <a:xfrm>
            <a:off x="598515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0" name="object 970"/>
          <p:cNvSpPr/>
          <p:nvPr/>
        </p:nvSpPr>
        <p:spPr>
          <a:xfrm>
            <a:off x="59924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1" name="object 971"/>
          <p:cNvSpPr/>
          <p:nvPr/>
        </p:nvSpPr>
        <p:spPr>
          <a:xfrm>
            <a:off x="599788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2" name="object 972"/>
          <p:cNvSpPr/>
          <p:nvPr/>
        </p:nvSpPr>
        <p:spPr>
          <a:xfrm>
            <a:off x="60051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3" name="object 973"/>
          <p:cNvSpPr/>
          <p:nvPr/>
        </p:nvSpPr>
        <p:spPr>
          <a:xfrm>
            <a:off x="601060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4" name="object 974"/>
          <p:cNvSpPr/>
          <p:nvPr/>
        </p:nvSpPr>
        <p:spPr>
          <a:xfrm>
            <a:off x="60178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5" name="object 975"/>
          <p:cNvSpPr/>
          <p:nvPr/>
        </p:nvSpPr>
        <p:spPr>
          <a:xfrm>
            <a:off x="602333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6" name="object 976"/>
          <p:cNvSpPr/>
          <p:nvPr/>
        </p:nvSpPr>
        <p:spPr>
          <a:xfrm>
            <a:off x="60306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7" name="object 977"/>
          <p:cNvSpPr/>
          <p:nvPr/>
        </p:nvSpPr>
        <p:spPr>
          <a:xfrm>
            <a:off x="603605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8" name="object 978"/>
          <p:cNvSpPr/>
          <p:nvPr/>
        </p:nvSpPr>
        <p:spPr>
          <a:xfrm>
            <a:off x="60433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79" name="object 979"/>
          <p:cNvSpPr/>
          <p:nvPr/>
        </p:nvSpPr>
        <p:spPr>
          <a:xfrm>
            <a:off x="605060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0" name="object 980"/>
          <p:cNvSpPr/>
          <p:nvPr/>
        </p:nvSpPr>
        <p:spPr>
          <a:xfrm>
            <a:off x="60560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1" name="object 981"/>
          <p:cNvSpPr/>
          <p:nvPr/>
        </p:nvSpPr>
        <p:spPr>
          <a:xfrm>
            <a:off x="606332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2" name="object 982"/>
          <p:cNvSpPr/>
          <p:nvPr/>
        </p:nvSpPr>
        <p:spPr>
          <a:xfrm>
            <a:off x="60687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3" name="object 983"/>
          <p:cNvSpPr/>
          <p:nvPr/>
        </p:nvSpPr>
        <p:spPr>
          <a:xfrm>
            <a:off x="6076051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4" name="object 984"/>
          <p:cNvSpPr/>
          <p:nvPr/>
        </p:nvSpPr>
        <p:spPr>
          <a:xfrm>
            <a:off x="60815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5" name="object 985"/>
          <p:cNvSpPr/>
          <p:nvPr/>
        </p:nvSpPr>
        <p:spPr>
          <a:xfrm>
            <a:off x="608877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6" name="object 986"/>
          <p:cNvSpPr/>
          <p:nvPr/>
        </p:nvSpPr>
        <p:spPr>
          <a:xfrm>
            <a:off x="60942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7" name="object 987"/>
          <p:cNvSpPr/>
          <p:nvPr/>
        </p:nvSpPr>
        <p:spPr>
          <a:xfrm>
            <a:off x="610150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8" name="object 988"/>
          <p:cNvSpPr/>
          <p:nvPr/>
        </p:nvSpPr>
        <p:spPr>
          <a:xfrm>
            <a:off x="61069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89" name="object 989"/>
          <p:cNvSpPr/>
          <p:nvPr/>
        </p:nvSpPr>
        <p:spPr>
          <a:xfrm>
            <a:off x="611422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0" name="object 990"/>
          <p:cNvSpPr/>
          <p:nvPr/>
        </p:nvSpPr>
        <p:spPr>
          <a:xfrm>
            <a:off x="61196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1" name="object 991"/>
          <p:cNvSpPr/>
          <p:nvPr/>
        </p:nvSpPr>
        <p:spPr>
          <a:xfrm>
            <a:off x="612695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2" name="object 992"/>
          <p:cNvSpPr/>
          <p:nvPr/>
        </p:nvSpPr>
        <p:spPr>
          <a:xfrm>
            <a:off x="61324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3" name="object 993"/>
          <p:cNvSpPr/>
          <p:nvPr/>
        </p:nvSpPr>
        <p:spPr>
          <a:xfrm>
            <a:off x="613967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4" name="object 994"/>
          <p:cNvSpPr/>
          <p:nvPr/>
        </p:nvSpPr>
        <p:spPr>
          <a:xfrm>
            <a:off x="61451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5" name="object 995"/>
          <p:cNvSpPr/>
          <p:nvPr/>
        </p:nvSpPr>
        <p:spPr>
          <a:xfrm>
            <a:off x="615240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6" name="object 996"/>
          <p:cNvSpPr/>
          <p:nvPr/>
        </p:nvSpPr>
        <p:spPr>
          <a:xfrm>
            <a:off x="61578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7" name="object 997"/>
          <p:cNvSpPr/>
          <p:nvPr/>
        </p:nvSpPr>
        <p:spPr>
          <a:xfrm>
            <a:off x="616512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8" name="object 998"/>
          <p:cNvSpPr/>
          <p:nvPr/>
        </p:nvSpPr>
        <p:spPr>
          <a:xfrm>
            <a:off x="61705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999" name="object 999"/>
          <p:cNvSpPr/>
          <p:nvPr/>
        </p:nvSpPr>
        <p:spPr>
          <a:xfrm>
            <a:off x="617785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0" name="object 1000"/>
          <p:cNvSpPr/>
          <p:nvPr/>
        </p:nvSpPr>
        <p:spPr>
          <a:xfrm>
            <a:off x="618330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1" name="object 1001"/>
          <p:cNvSpPr/>
          <p:nvPr/>
        </p:nvSpPr>
        <p:spPr>
          <a:xfrm>
            <a:off x="619057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2" name="object 1002"/>
          <p:cNvSpPr/>
          <p:nvPr/>
        </p:nvSpPr>
        <p:spPr>
          <a:xfrm>
            <a:off x="61960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3" name="object 1003"/>
          <p:cNvSpPr/>
          <p:nvPr/>
        </p:nvSpPr>
        <p:spPr>
          <a:xfrm>
            <a:off x="620330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4" name="object 1004"/>
          <p:cNvSpPr/>
          <p:nvPr/>
        </p:nvSpPr>
        <p:spPr>
          <a:xfrm>
            <a:off x="62087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5" name="object 1005"/>
          <p:cNvSpPr/>
          <p:nvPr/>
        </p:nvSpPr>
        <p:spPr>
          <a:xfrm>
            <a:off x="6216027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6" name="object 1006"/>
          <p:cNvSpPr/>
          <p:nvPr/>
        </p:nvSpPr>
        <p:spPr>
          <a:xfrm>
            <a:off x="622148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7" name="object 1007"/>
          <p:cNvSpPr/>
          <p:nvPr/>
        </p:nvSpPr>
        <p:spPr>
          <a:xfrm>
            <a:off x="622875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8" name="object 1008"/>
          <p:cNvSpPr/>
          <p:nvPr/>
        </p:nvSpPr>
        <p:spPr>
          <a:xfrm>
            <a:off x="62342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09" name="object 1009"/>
          <p:cNvSpPr/>
          <p:nvPr/>
        </p:nvSpPr>
        <p:spPr>
          <a:xfrm>
            <a:off x="624147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0" name="object 1010"/>
          <p:cNvSpPr/>
          <p:nvPr/>
        </p:nvSpPr>
        <p:spPr>
          <a:xfrm>
            <a:off x="62469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1" name="object 1011"/>
          <p:cNvSpPr/>
          <p:nvPr/>
        </p:nvSpPr>
        <p:spPr>
          <a:xfrm>
            <a:off x="62542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2" name="object 1012"/>
          <p:cNvSpPr/>
          <p:nvPr/>
        </p:nvSpPr>
        <p:spPr>
          <a:xfrm>
            <a:off x="625965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3" name="object 1013"/>
          <p:cNvSpPr/>
          <p:nvPr/>
        </p:nvSpPr>
        <p:spPr>
          <a:xfrm>
            <a:off x="62669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4" name="object 1014"/>
          <p:cNvSpPr/>
          <p:nvPr/>
        </p:nvSpPr>
        <p:spPr>
          <a:xfrm>
            <a:off x="627238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5" name="object 1015"/>
          <p:cNvSpPr/>
          <p:nvPr/>
        </p:nvSpPr>
        <p:spPr>
          <a:xfrm>
            <a:off x="627965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6" name="object 1016"/>
          <p:cNvSpPr/>
          <p:nvPr/>
        </p:nvSpPr>
        <p:spPr>
          <a:xfrm>
            <a:off x="628510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7" name="object 1017"/>
          <p:cNvSpPr/>
          <p:nvPr/>
        </p:nvSpPr>
        <p:spPr>
          <a:xfrm>
            <a:off x="629237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8" name="object 1018"/>
          <p:cNvSpPr/>
          <p:nvPr/>
        </p:nvSpPr>
        <p:spPr>
          <a:xfrm>
            <a:off x="629783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19" name="object 1019"/>
          <p:cNvSpPr/>
          <p:nvPr/>
        </p:nvSpPr>
        <p:spPr>
          <a:xfrm>
            <a:off x="630510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0" name="object 1020"/>
          <p:cNvSpPr/>
          <p:nvPr/>
        </p:nvSpPr>
        <p:spPr>
          <a:xfrm>
            <a:off x="631055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1" name="object 1021"/>
          <p:cNvSpPr/>
          <p:nvPr/>
        </p:nvSpPr>
        <p:spPr>
          <a:xfrm>
            <a:off x="631782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2" name="object 1022"/>
          <p:cNvSpPr/>
          <p:nvPr/>
        </p:nvSpPr>
        <p:spPr>
          <a:xfrm>
            <a:off x="632328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3" name="object 1023"/>
          <p:cNvSpPr/>
          <p:nvPr/>
        </p:nvSpPr>
        <p:spPr>
          <a:xfrm>
            <a:off x="633055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4" name="object 1024"/>
          <p:cNvSpPr/>
          <p:nvPr/>
        </p:nvSpPr>
        <p:spPr>
          <a:xfrm>
            <a:off x="633600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5" name="object 1025"/>
          <p:cNvSpPr/>
          <p:nvPr/>
        </p:nvSpPr>
        <p:spPr>
          <a:xfrm>
            <a:off x="634327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6" name="object 1026"/>
          <p:cNvSpPr/>
          <p:nvPr/>
        </p:nvSpPr>
        <p:spPr>
          <a:xfrm>
            <a:off x="634873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7" name="object 1027"/>
          <p:cNvSpPr/>
          <p:nvPr/>
        </p:nvSpPr>
        <p:spPr>
          <a:xfrm>
            <a:off x="63560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8" name="object 1028"/>
          <p:cNvSpPr/>
          <p:nvPr/>
        </p:nvSpPr>
        <p:spPr>
          <a:xfrm>
            <a:off x="636145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29" name="object 1029"/>
          <p:cNvSpPr/>
          <p:nvPr/>
        </p:nvSpPr>
        <p:spPr>
          <a:xfrm>
            <a:off x="63687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0" name="object 1030"/>
          <p:cNvSpPr/>
          <p:nvPr/>
        </p:nvSpPr>
        <p:spPr>
          <a:xfrm>
            <a:off x="637418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1" name="object 1031"/>
          <p:cNvSpPr/>
          <p:nvPr/>
        </p:nvSpPr>
        <p:spPr>
          <a:xfrm>
            <a:off x="63814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2" name="object 1032"/>
          <p:cNvSpPr/>
          <p:nvPr/>
        </p:nvSpPr>
        <p:spPr>
          <a:xfrm>
            <a:off x="638690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3" name="object 1033"/>
          <p:cNvSpPr/>
          <p:nvPr/>
        </p:nvSpPr>
        <p:spPr>
          <a:xfrm>
            <a:off x="63941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4" name="object 1034"/>
          <p:cNvSpPr/>
          <p:nvPr/>
        </p:nvSpPr>
        <p:spPr>
          <a:xfrm>
            <a:off x="6399633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5" name="object 1035"/>
          <p:cNvSpPr/>
          <p:nvPr/>
        </p:nvSpPr>
        <p:spPr>
          <a:xfrm>
            <a:off x="640690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6" name="object 1036"/>
          <p:cNvSpPr/>
          <p:nvPr/>
        </p:nvSpPr>
        <p:spPr>
          <a:xfrm>
            <a:off x="641235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7" name="object 1037"/>
          <p:cNvSpPr/>
          <p:nvPr/>
        </p:nvSpPr>
        <p:spPr>
          <a:xfrm>
            <a:off x="64196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8" name="object 1038"/>
          <p:cNvSpPr/>
          <p:nvPr/>
        </p:nvSpPr>
        <p:spPr>
          <a:xfrm>
            <a:off x="642508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39" name="object 1039"/>
          <p:cNvSpPr/>
          <p:nvPr/>
        </p:nvSpPr>
        <p:spPr>
          <a:xfrm>
            <a:off x="6432355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0" name="object 1040"/>
          <p:cNvSpPr/>
          <p:nvPr/>
        </p:nvSpPr>
        <p:spPr>
          <a:xfrm>
            <a:off x="6437809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1" name="object 1041"/>
          <p:cNvSpPr/>
          <p:nvPr/>
        </p:nvSpPr>
        <p:spPr>
          <a:xfrm>
            <a:off x="64450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2" name="object 1042"/>
          <p:cNvSpPr/>
          <p:nvPr/>
        </p:nvSpPr>
        <p:spPr>
          <a:xfrm>
            <a:off x="6450534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3" name="object 1043"/>
          <p:cNvSpPr/>
          <p:nvPr/>
        </p:nvSpPr>
        <p:spPr>
          <a:xfrm>
            <a:off x="64578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4" name="object 1044"/>
          <p:cNvSpPr/>
          <p:nvPr/>
        </p:nvSpPr>
        <p:spPr>
          <a:xfrm>
            <a:off x="6463258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5" name="object 1045"/>
          <p:cNvSpPr/>
          <p:nvPr/>
        </p:nvSpPr>
        <p:spPr>
          <a:xfrm>
            <a:off x="6470531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6" name="object 1046"/>
          <p:cNvSpPr/>
          <p:nvPr/>
        </p:nvSpPr>
        <p:spPr>
          <a:xfrm>
            <a:off x="647780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7" name="object 1047"/>
          <p:cNvSpPr/>
          <p:nvPr/>
        </p:nvSpPr>
        <p:spPr>
          <a:xfrm>
            <a:off x="6483257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8" name="object 1048"/>
          <p:cNvSpPr/>
          <p:nvPr/>
        </p:nvSpPr>
        <p:spPr>
          <a:xfrm>
            <a:off x="649052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49" name="object 1049"/>
          <p:cNvSpPr/>
          <p:nvPr/>
        </p:nvSpPr>
        <p:spPr>
          <a:xfrm>
            <a:off x="649598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0" name="object 1050"/>
          <p:cNvSpPr/>
          <p:nvPr/>
        </p:nvSpPr>
        <p:spPr>
          <a:xfrm>
            <a:off x="6503252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1" name="object 1051"/>
          <p:cNvSpPr/>
          <p:nvPr/>
        </p:nvSpPr>
        <p:spPr>
          <a:xfrm>
            <a:off x="65087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2" name="object 1052"/>
          <p:cNvSpPr/>
          <p:nvPr/>
        </p:nvSpPr>
        <p:spPr>
          <a:xfrm>
            <a:off x="6515979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3" name="object 1053"/>
          <p:cNvSpPr/>
          <p:nvPr/>
        </p:nvSpPr>
        <p:spPr>
          <a:xfrm>
            <a:off x="6521430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4" name="object 1054"/>
          <p:cNvSpPr/>
          <p:nvPr/>
        </p:nvSpPr>
        <p:spPr>
          <a:xfrm>
            <a:off x="6528703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5" name="object 1055"/>
          <p:cNvSpPr/>
          <p:nvPr/>
        </p:nvSpPr>
        <p:spPr>
          <a:xfrm>
            <a:off x="653415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6" name="object 1056"/>
          <p:cNvSpPr/>
          <p:nvPr/>
        </p:nvSpPr>
        <p:spPr>
          <a:xfrm>
            <a:off x="654142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7" name="object 1057"/>
          <p:cNvSpPr/>
          <p:nvPr/>
        </p:nvSpPr>
        <p:spPr>
          <a:xfrm>
            <a:off x="654688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8" name="object 1058"/>
          <p:cNvSpPr/>
          <p:nvPr/>
        </p:nvSpPr>
        <p:spPr>
          <a:xfrm>
            <a:off x="655415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59" name="object 1059"/>
          <p:cNvSpPr/>
          <p:nvPr/>
        </p:nvSpPr>
        <p:spPr>
          <a:xfrm>
            <a:off x="6559606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0" name="object 1060"/>
          <p:cNvSpPr/>
          <p:nvPr/>
        </p:nvSpPr>
        <p:spPr>
          <a:xfrm>
            <a:off x="656687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1" name="object 1061"/>
          <p:cNvSpPr/>
          <p:nvPr/>
        </p:nvSpPr>
        <p:spPr>
          <a:xfrm>
            <a:off x="6572332" y="309091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2" name="object 1062"/>
          <p:cNvSpPr/>
          <p:nvPr/>
        </p:nvSpPr>
        <p:spPr>
          <a:xfrm>
            <a:off x="6579604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3" name="object 1063"/>
          <p:cNvSpPr/>
          <p:nvPr/>
        </p:nvSpPr>
        <p:spPr>
          <a:xfrm>
            <a:off x="6585058" y="309091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4" name="object 1064"/>
          <p:cNvSpPr/>
          <p:nvPr/>
        </p:nvSpPr>
        <p:spPr>
          <a:xfrm>
            <a:off x="44872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5" name="object 1065"/>
          <p:cNvSpPr/>
          <p:nvPr/>
        </p:nvSpPr>
        <p:spPr>
          <a:xfrm>
            <a:off x="449450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6" name="object 1066"/>
          <p:cNvSpPr/>
          <p:nvPr/>
        </p:nvSpPr>
        <p:spPr>
          <a:xfrm>
            <a:off x="449995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7" name="object 1067"/>
          <p:cNvSpPr/>
          <p:nvPr/>
        </p:nvSpPr>
        <p:spPr>
          <a:xfrm>
            <a:off x="450722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8" name="object 1068"/>
          <p:cNvSpPr/>
          <p:nvPr/>
        </p:nvSpPr>
        <p:spPr>
          <a:xfrm>
            <a:off x="451267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69" name="object 1069"/>
          <p:cNvSpPr/>
          <p:nvPr/>
        </p:nvSpPr>
        <p:spPr>
          <a:xfrm>
            <a:off x="451994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0" name="object 1070"/>
          <p:cNvSpPr/>
          <p:nvPr/>
        </p:nvSpPr>
        <p:spPr>
          <a:xfrm>
            <a:off x="45254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1" name="object 1071"/>
          <p:cNvSpPr/>
          <p:nvPr/>
        </p:nvSpPr>
        <p:spPr>
          <a:xfrm>
            <a:off x="453267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2" name="object 1072"/>
          <p:cNvSpPr/>
          <p:nvPr/>
        </p:nvSpPr>
        <p:spPr>
          <a:xfrm>
            <a:off x="45381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3" name="object 1073"/>
          <p:cNvSpPr/>
          <p:nvPr/>
        </p:nvSpPr>
        <p:spPr>
          <a:xfrm>
            <a:off x="454539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4" name="object 1074"/>
          <p:cNvSpPr/>
          <p:nvPr/>
        </p:nvSpPr>
        <p:spPr>
          <a:xfrm>
            <a:off x="45508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5" name="object 1075"/>
          <p:cNvSpPr/>
          <p:nvPr/>
        </p:nvSpPr>
        <p:spPr>
          <a:xfrm>
            <a:off x="455812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6" name="object 1076"/>
          <p:cNvSpPr/>
          <p:nvPr/>
        </p:nvSpPr>
        <p:spPr>
          <a:xfrm>
            <a:off x="45635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7" name="object 1077"/>
          <p:cNvSpPr/>
          <p:nvPr/>
        </p:nvSpPr>
        <p:spPr>
          <a:xfrm>
            <a:off x="457084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8" name="object 1078"/>
          <p:cNvSpPr/>
          <p:nvPr/>
        </p:nvSpPr>
        <p:spPr>
          <a:xfrm>
            <a:off x="45763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79" name="object 1079"/>
          <p:cNvSpPr/>
          <p:nvPr/>
        </p:nvSpPr>
        <p:spPr>
          <a:xfrm>
            <a:off x="458357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0" name="object 1080"/>
          <p:cNvSpPr/>
          <p:nvPr/>
        </p:nvSpPr>
        <p:spPr>
          <a:xfrm>
            <a:off x="45890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1" name="object 1081"/>
          <p:cNvSpPr/>
          <p:nvPr/>
        </p:nvSpPr>
        <p:spPr>
          <a:xfrm>
            <a:off x="45963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2" name="object 1082"/>
          <p:cNvSpPr/>
          <p:nvPr/>
        </p:nvSpPr>
        <p:spPr>
          <a:xfrm>
            <a:off x="46017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3" name="object 1083"/>
          <p:cNvSpPr/>
          <p:nvPr/>
        </p:nvSpPr>
        <p:spPr>
          <a:xfrm>
            <a:off x="460902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4" name="object 1084"/>
          <p:cNvSpPr/>
          <p:nvPr/>
        </p:nvSpPr>
        <p:spPr>
          <a:xfrm>
            <a:off x="46144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5" name="object 1085"/>
          <p:cNvSpPr/>
          <p:nvPr/>
        </p:nvSpPr>
        <p:spPr>
          <a:xfrm>
            <a:off x="462174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6" name="object 1086"/>
          <p:cNvSpPr/>
          <p:nvPr/>
        </p:nvSpPr>
        <p:spPr>
          <a:xfrm>
            <a:off x="46272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7" name="object 1087"/>
          <p:cNvSpPr/>
          <p:nvPr/>
        </p:nvSpPr>
        <p:spPr>
          <a:xfrm>
            <a:off x="463447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8" name="object 1088"/>
          <p:cNvSpPr/>
          <p:nvPr/>
        </p:nvSpPr>
        <p:spPr>
          <a:xfrm>
            <a:off x="46399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89" name="object 1089"/>
          <p:cNvSpPr/>
          <p:nvPr/>
        </p:nvSpPr>
        <p:spPr>
          <a:xfrm>
            <a:off x="464720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0" name="object 1090"/>
          <p:cNvSpPr/>
          <p:nvPr/>
        </p:nvSpPr>
        <p:spPr>
          <a:xfrm>
            <a:off x="46526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1" name="object 1091"/>
          <p:cNvSpPr/>
          <p:nvPr/>
        </p:nvSpPr>
        <p:spPr>
          <a:xfrm>
            <a:off x="465992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2" name="object 1092"/>
          <p:cNvSpPr/>
          <p:nvPr/>
        </p:nvSpPr>
        <p:spPr>
          <a:xfrm>
            <a:off x="46653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3" name="object 1093"/>
          <p:cNvSpPr/>
          <p:nvPr/>
        </p:nvSpPr>
        <p:spPr>
          <a:xfrm>
            <a:off x="467265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4" name="object 1094"/>
          <p:cNvSpPr/>
          <p:nvPr/>
        </p:nvSpPr>
        <p:spPr>
          <a:xfrm>
            <a:off x="46781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5" name="object 1095"/>
          <p:cNvSpPr/>
          <p:nvPr/>
        </p:nvSpPr>
        <p:spPr>
          <a:xfrm>
            <a:off x="468537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6" name="object 1096"/>
          <p:cNvSpPr/>
          <p:nvPr/>
        </p:nvSpPr>
        <p:spPr>
          <a:xfrm>
            <a:off x="46908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7" name="object 1097"/>
          <p:cNvSpPr/>
          <p:nvPr/>
        </p:nvSpPr>
        <p:spPr>
          <a:xfrm>
            <a:off x="46981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8" name="object 1098"/>
          <p:cNvSpPr/>
          <p:nvPr/>
        </p:nvSpPr>
        <p:spPr>
          <a:xfrm>
            <a:off x="47035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099" name="object 1099"/>
          <p:cNvSpPr/>
          <p:nvPr/>
        </p:nvSpPr>
        <p:spPr>
          <a:xfrm>
            <a:off x="47108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0" name="object 1100"/>
          <p:cNvSpPr/>
          <p:nvPr/>
        </p:nvSpPr>
        <p:spPr>
          <a:xfrm>
            <a:off x="47162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1" name="object 1101"/>
          <p:cNvSpPr/>
          <p:nvPr/>
        </p:nvSpPr>
        <p:spPr>
          <a:xfrm>
            <a:off x="472355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2" name="object 1102"/>
          <p:cNvSpPr/>
          <p:nvPr/>
        </p:nvSpPr>
        <p:spPr>
          <a:xfrm>
            <a:off x="47290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3" name="object 1103"/>
          <p:cNvSpPr/>
          <p:nvPr/>
        </p:nvSpPr>
        <p:spPr>
          <a:xfrm>
            <a:off x="473627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4" name="object 1104"/>
          <p:cNvSpPr/>
          <p:nvPr/>
        </p:nvSpPr>
        <p:spPr>
          <a:xfrm>
            <a:off x="474354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5" name="object 1105"/>
          <p:cNvSpPr/>
          <p:nvPr/>
        </p:nvSpPr>
        <p:spPr>
          <a:xfrm>
            <a:off x="47490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6" name="object 1106"/>
          <p:cNvSpPr/>
          <p:nvPr/>
        </p:nvSpPr>
        <p:spPr>
          <a:xfrm>
            <a:off x="475627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7" name="object 1107"/>
          <p:cNvSpPr/>
          <p:nvPr/>
        </p:nvSpPr>
        <p:spPr>
          <a:xfrm>
            <a:off x="476172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8" name="object 1108"/>
          <p:cNvSpPr/>
          <p:nvPr/>
        </p:nvSpPr>
        <p:spPr>
          <a:xfrm>
            <a:off x="476899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09" name="object 1109"/>
          <p:cNvSpPr/>
          <p:nvPr/>
        </p:nvSpPr>
        <p:spPr>
          <a:xfrm>
            <a:off x="477445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0" name="object 1110"/>
          <p:cNvSpPr/>
          <p:nvPr/>
        </p:nvSpPr>
        <p:spPr>
          <a:xfrm>
            <a:off x="478172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1" name="object 1111"/>
          <p:cNvSpPr/>
          <p:nvPr/>
        </p:nvSpPr>
        <p:spPr>
          <a:xfrm>
            <a:off x="478717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2" name="object 1112"/>
          <p:cNvSpPr/>
          <p:nvPr/>
        </p:nvSpPr>
        <p:spPr>
          <a:xfrm>
            <a:off x="479444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3" name="object 1113"/>
          <p:cNvSpPr/>
          <p:nvPr/>
        </p:nvSpPr>
        <p:spPr>
          <a:xfrm>
            <a:off x="47999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4" name="object 1114"/>
          <p:cNvSpPr/>
          <p:nvPr/>
        </p:nvSpPr>
        <p:spPr>
          <a:xfrm>
            <a:off x="480717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5" name="object 1115"/>
          <p:cNvSpPr/>
          <p:nvPr/>
        </p:nvSpPr>
        <p:spPr>
          <a:xfrm>
            <a:off x="48126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6" name="object 1116"/>
          <p:cNvSpPr/>
          <p:nvPr/>
        </p:nvSpPr>
        <p:spPr>
          <a:xfrm>
            <a:off x="481989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7" name="object 1117"/>
          <p:cNvSpPr/>
          <p:nvPr/>
        </p:nvSpPr>
        <p:spPr>
          <a:xfrm>
            <a:off x="482535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8" name="object 1118"/>
          <p:cNvSpPr/>
          <p:nvPr/>
        </p:nvSpPr>
        <p:spPr>
          <a:xfrm>
            <a:off x="483262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19" name="object 1119"/>
          <p:cNvSpPr/>
          <p:nvPr/>
        </p:nvSpPr>
        <p:spPr>
          <a:xfrm>
            <a:off x="483807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0" name="object 1120"/>
          <p:cNvSpPr/>
          <p:nvPr/>
        </p:nvSpPr>
        <p:spPr>
          <a:xfrm>
            <a:off x="484534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1" name="object 1121"/>
          <p:cNvSpPr/>
          <p:nvPr/>
        </p:nvSpPr>
        <p:spPr>
          <a:xfrm>
            <a:off x="48508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2" name="object 1122"/>
          <p:cNvSpPr/>
          <p:nvPr/>
        </p:nvSpPr>
        <p:spPr>
          <a:xfrm>
            <a:off x="485807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3" name="object 1123"/>
          <p:cNvSpPr/>
          <p:nvPr/>
        </p:nvSpPr>
        <p:spPr>
          <a:xfrm>
            <a:off x="48635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4" name="object 1124"/>
          <p:cNvSpPr/>
          <p:nvPr/>
        </p:nvSpPr>
        <p:spPr>
          <a:xfrm>
            <a:off x="487080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5" name="object 1125"/>
          <p:cNvSpPr/>
          <p:nvPr/>
        </p:nvSpPr>
        <p:spPr>
          <a:xfrm>
            <a:off x="487625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6" name="object 1126"/>
          <p:cNvSpPr/>
          <p:nvPr/>
        </p:nvSpPr>
        <p:spPr>
          <a:xfrm>
            <a:off x="488352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7" name="object 1127"/>
          <p:cNvSpPr/>
          <p:nvPr/>
        </p:nvSpPr>
        <p:spPr>
          <a:xfrm>
            <a:off x="48889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8" name="object 1128"/>
          <p:cNvSpPr/>
          <p:nvPr/>
        </p:nvSpPr>
        <p:spPr>
          <a:xfrm>
            <a:off x="489625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29" name="object 1129"/>
          <p:cNvSpPr/>
          <p:nvPr/>
        </p:nvSpPr>
        <p:spPr>
          <a:xfrm>
            <a:off x="49017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0" name="object 1130"/>
          <p:cNvSpPr/>
          <p:nvPr/>
        </p:nvSpPr>
        <p:spPr>
          <a:xfrm>
            <a:off x="490897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1" name="object 1131"/>
          <p:cNvSpPr/>
          <p:nvPr/>
        </p:nvSpPr>
        <p:spPr>
          <a:xfrm>
            <a:off x="49144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2" name="object 1132"/>
          <p:cNvSpPr/>
          <p:nvPr/>
        </p:nvSpPr>
        <p:spPr>
          <a:xfrm>
            <a:off x="492170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3" name="object 1133"/>
          <p:cNvSpPr/>
          <p:nvPr/>
        </p:nvSpPr>
        <p:spPr>
          <a:xfrm>
            <a:off x="49271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4" name="object 1134"/>
          <p:cNvSpPr/>
          <p:nvPr/>
        </p:nvSpPr>
        <p:spPr>
          <a:xfrm>
            <a:off x="493442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5" name="object 1135"/>
          <p:cNvSpPr/>
          <p:nvPr/>
        </p:nvSpPr>
        <p:spPr>
          <a:xfrm>
            <a:off x="49398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6" name="object 1136"/>
          <p:cNvSpPr/>
          <p:nvPr/>
        </p:nvSpPr>
        <p:spPr>
          <a:xfrm>
            <a:off x="4947151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7" name="object 1137"/>
          <p:cNvSpPr/>
          <p:nvPr/>
        </p:nvSpPr>
        <p:spPr>
          <a:xfrm>
            <a:off x="49526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8" name="object 1138"/>
          <p:cNvSpPr/>
          <p:nvPr/>
        </p:nvSpPr>
        <p:spPr>
          <a:xfrm>
            <a:off x="495987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39" name="object 1139"/>
          <p:cNvSpPr/>
          <p:nvPr/>
        </p:nvSpPr>
        <p:spPr>
          <a:xfrm>
            <a:off x="49653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0" name="object 1140"/>
          <p:cNvSpPr/>
          <p:nvPr/>
        </p:nvSpPr>
        <p:spPr>
          <a:xfrm>
            <a:off x="49726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1" name="object 1141"/>
          <p:cNvSpPr/>
          <p:nvPr/>
        </p:nvSpPr>
        <p:spPr>
          <a:xfrm>
            <a:off x="49780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2" name="object 1142"/>
          <p:cNvSpPr/>
          <p:nvPr/>
        </p:nvSpPr>
        <p:spPr>
          <a:xfrm>
            <a:off x="498532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3" name="object 1143"/>
          <p:cNvSpPr/>
          <p:nvPr/>
        </p:nvSpPr>
        <p:spPr>
          <a:xfrm>
            <a:off x="49907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4" name="object 1144"/>
          <p:cNvSpPr/>
          <p:nvPr/>
        </p:nvSpPr>
        <p:spPr>
          <a:xfrm>
            <a:off x="499805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5" name="object 1145"/>
          <p:cNvSpPr/>
          <p:nvPr/>
        </p:nvSpPr>
        <p:spPr>
          <a:xfrm>
            <a:off x="50035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6" name="object 1146"/>
          <p:cNvSpPr/>
          <p:nvPr/>
        </p:nvSpPr>
        <p:spPr>
          <a:xfrm>
            <a:off x="501077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7" name="object 1147"/>
          <p:cNvSpPr/>
          <p:nvPr/>
        </p:nvSpPr>
        <p:spPr>
          <a:xfrm>
            <a:off x="50162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8" name="object 1148"/>
          <p:cNvSpPr/>
          <p:nvPr/>
        </p:nvSpPr>
        <p:spPr>
          <a:xfrm>
            <a:off x="502350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49" name="object 1149"/>
          <p:cNvSpPr/>
          <p:nvPr/>
        </p:nvSpPr>
        <p:spPr>
          <a:xfrm>
            <a:off x="50289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0" name="object 1150"/>
          <p:cNvSpPr/>
          <p:nvPr/>
        </p:nvSpPr>
        <p:spPr>
          <a:xfrm>
            <a:off x="503622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1" name="object 1151"/>
          <p:cNvSpPr/>
          <p:nvPr/>
        </p:nvSpPr>
        <p:spPr>
          <a:xfrm>
            <a:off x="50416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2" name="object 1152"/>
          <p:cNvSpPr/>
          <p:nvPr/>
        </p:nvSpPr>
        <p:spPr>
          <a:xfrm>
            <a:off x="504895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3" name="object 1153"/>
          <p:cNvSpPr/>
          <p:nvPr/>
        </p:nvSpPr>
        <p:spPr>
          <a:xfrm>
            <a:off x="50544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4" name="object 1154"/>
          <p:cNvSpPr/>
          <p:nvPr/>
        </p:nvSpPr>
        <p:spPr>
          <a:xfrm>
            <a:off x="506167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5" name="object 1155"/>
          <p:cNvSpPr/>
          <p:nvPr/>
        </p:nvSpPr>
        <p:spPr>
          <a:xfrm>
            <a:off x="50671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6" name="object 1156"/>
          <p:cNvSpPr/>
          <p:nvPr/>
        </p:nvSpPr>
        <p:spPr>
          <a:xfrm>
            <a:off x="50744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7" name="object 1157"/>
          <p:cNvSpPr/>
          <p:nvPr/>
        </p:nvSpPr>
        <p:spPr>
          <a:xfrm>
            <a:off x="50798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8" name="object 1158"/>
          <p:cNvSpPr/>
          <p:nvPr/>
        </p:nvSpPr>
        <p:spPr>
          <a:xfrm>
            <a:off x="508712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59" name="object 1159"/>
          <p:cNvSpPr/>
          <p:nvPr/>
        </p:nvSpPr>
        <p:spPr>
          <a:xfrm>
            <a:off x="50925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0" name="object 1160"/>
          <p:cNvSpPr/>
          <p:nvPr/>
        </p:nvSpPr>
        <p:spPr>
          <a:xfrm>
            <a:off x="509985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1" name="object 1161"/>
          <p:cNvSpPr/>
          <p:nvPr/>
        </p:nvSpPr>
        <p:spPr>
          <a:xfrm>
            <a:off x="51053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2" name="object 1162"/>
          <p:cNvSpPr/>
          <p:nvPr/>
        </p:nvSpPr>
        <p:spPr>
          <a:xfrm>
            <a:off x="511257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3" name="object 1163"/>
          <p:cNvSpPr/>
          <p:nvPr/>
        </p:nvSpPr>
        <p:spPr>
          <a:xfrm>
            <a:off x="51180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4" name="object 1164"/>
          <p:cNvSpPr/>
          <p:nvPr/>
        </p:nvSpPr>
        <p:spPr>
          <a:xfrm>
            <a:off x="51253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5" name="object 1165"/>
          <p:cNvSpPr/>
          <p:nvPr/>
        </p:nvSpPr>
        <p:spPr>
          <a:xfrm>
            <a:off x="51307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6" name="object 1166"/>
          <p:cNvSpPr/>
          <p:nvPr/>
        </p:nvSpPr>
        <p:spPr>
          <a:xfrm>
            <a:off x="51380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7" name="object 1167"/>
          <p:cNvSpPr/>
          <p:nvPr/>
        </p:nvSpPr>
        <p:spPr>
          <a:xfrm>
            <a:off x="51434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8" name="object 1168"/>
          <p:cNvSpPr/>
          <p:nvPr/>
        </p:nvSpPr>
        <p:spPr>
          <a:xfrm>
            <a:off x="515075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69" name="object 1169"/>
          <p:cNvSpPr/>
          <p:nvPr/>
        </p:nvSpPr>
        <p:spPr>
          <a:xfrm>
            <a:off x="51562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0" name="object 1170"/>
          <p:cNvSpPr/>
          <p:nvPr/>
        </p:nvSpPr>
        <p:spPr>
          <a:xfrm>
            <a:off x="51634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1" name="object 1171"/>
          <p:cNvSpPr/>
          <p:nvPr/>
        </p:nvSpPr>
        <p:spPr>
          <a:xfrm>
            <a:off x="51689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2" name="object 1172"/>
          <p:cNvSpPr/>
          <p:nvPr/>
        </p:nvSpPr>
        <p:spPr>
          <a:xfrm>
            <a:off x="51762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3" name="object 1173"/>
          <p:cNvSpPr/>
          <p:nvPr/>
        </p:nvSpPr>
        <p:spPr>
          <a:xfrm>
            <a:off x="518347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4" name="object 1174"/>
          <p:cNvSpPr/>
          <p:nvPr/>
        </p:nvSpPr>
        <p:spPr>
          <a:xfrm>
            <a:off x="51889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5" name="object 1175"/>
          <p:cNvSpPr/>
          <p:nvPr/>
        </p:nvSpPr>
        <p:spPr>
          <a:xfrm>
            <a:off x="519619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6" name="object 1176"/>
          <p:cNvSpPr/>
          <p:nvPr/>
        </p:nvSpPr>
        <p:spPr>
          <a:xfrm>
            <a:off x="52016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7" name="object 1177"/>
          <p:cNvSpPr/>
          <p:nvPr/>
        </p:nvSpPr>
        <p:spPr>
          <a:xfrm>
            <a:off x="5208926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8" name="object 1178"/>
          <p:cNvSpPr/>
          <p:nvPr/>
        </p:nvSpPr>
        <p:spPr>
          <a:xfrm>
            <a:off x="521437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79" name="object 1179"/>
          <p:cNvSpPr/>
          <p:nvPr/>
        </p:nvSpPr>
        <p:spPr>
          <a:xfrm>
            <a:off x="522165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0" name="object 1180"/>
          <p:cNvSpPr/>
          <p:nvPr/>
        </p:nvSpPr>
        <p:spPr>
          <a:xfrm>
            <a:off x="52271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1" name="object 1181"/>
          <p:cNvSpPr/>
          <p:nvPr/>
        </p:nvSpPr>
        <p:spPr>
          <a:xfrm>
            <a:off x="523437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2" name="object 1182"/>
          <p:cNvSpPr/>
          <p:nvPr/>
        </p:nvSpPr>
        <p:spPr>
          <a:xfrm>
            <a:off x="52398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3" name="object 1183"/>
          <p:cNvSpPr/>
          <p:nvPr/>
        </p:nvSpPr>
        <p:spPr>
          <a:xfrm>
            <a:off x="524709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4" name="object 1184"/>
          <p:cNvSpPr/>
          <p:nvPr/>
        </p:nvSpPr>
        <p:spPr>
          <a:xfrm>
            <a:off x="52525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5" name="object 1185"/>
          <p:cNvSpPr/>
          <p:nvPr/>
        </p:nvSpPr>
        <p:spPr>
          <a:xfrm>
            <a:off x="525982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6" name="object 1186"/>
          <p:cNvSpPr/>
          <p:nvPr/>
        </p:nvSpPr>
        <p:spPr>
          <a:xfrm>
            <a:off x="526527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7" name="object 1187"/>
          <p:cNvSpPr/>
          <p:nvPr/>
        </p:nvSpPr>
        <p:spPr>
          <a:xfrm>
            <a:off x="527255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8" name="object 1188"/>
          <p:cNvSpPr/>
          <p:nvPr/>
        </p:nvSpPr>
        <p:spPr>
          <a:xfrm>
            <a:off x="52780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89" name="object 1189"/>
          <p:cNvSpPr/>
          <p:nvPr/>
        </p:nvSpPr>
        <p:spPr>
          <a:xfrm>
            <a:off x="528527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0" name="object 1190"/>
          <p:cNvSpPr/>
          <p:nvPr/>
        </p:nvSpPr>
        <p:spPr>
          <a:xfrm>
            <a:off x="52907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1" name="object 1191"/>
          <p:cNvSpPr/>
          <p:nvPr/>
        </p:nvSpPr>
        <p:spPr>
          <a:xfrm>
            <a:off x="5298001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2" name="object 1192"/>
          <p:cNvSpPr/>
          <p:nvPr/>
        </p:nvSpPr>
        <p:spPr>
          <a:xfrm>
            <a:off x="53034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3" name="object 1193"/>
          <p:cNvSpPr/>
          <p:nvPr/>
        </p:nvSpPr>
        <p:spPr>
          <a:xfrm>
            <a:off x="531072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4" name="object 1194"/>
          <p:cNvSpPr/>
          <p:nvPr/>
        </p:nvSpPr>
        <p:spPr>
          <a:xfrm>
            <a:off x="53161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5" name="object 1195"/>
          <p:cNvSpPr/>
          <p:nvPr/>
        </p:nvSpPr>
        <p:spPr>
          <a:xfrm>
            <a:off x="532345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6" name="object 1196"/>
          <p:cNvSpPr/>
          <p:nvPr/>
        </p:nvSpPr>
        <p:spPr>
          <a:xfrm>
            <a:off x="53289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7" name="object 1197"/>
          <p:cNvSpPr/>
          <p:nvPr/>
        </p:nvSpPr>
        <p:spPr>
          <a:xfrm>
            <a:off x="5336176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8" name="object 1198"/>
          <p:cNvSpPr/>
          <p:nvPr/>
        </p:nvSpPr>
        <p:spPr>
          <a:xfrm>
            <a:off x="53416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199" name="object 1199"/>
          <p:cNvSpPr/>
          <p:nvPr/>
        </p:nvSpPr>
        <p:spPr>
          <a:xfrm>
            <a:off x="5348901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0" name="object 1200"/>
          <p:cNvSpPr/>
          <p:nvPr/>
        </p:nvSpPr>
        <p:spPr>
          <a:xfrm>
            <a:off x="53543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1" name="object 1201"/>
          <p:cNvSpPr/>
          <p:nvPr/>
        </p:nvSpPr>
        <p:spPr>
          <a:xfrm>
            <a:off x="536162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2" name="object 1202"/>
          <p:cNvSpPr/>
          <p:nvPr/>
        </p:nvSpPr>
        <p:spPr>
          <a:xfrm>
            <a:off x="53670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3" name="object 1203"/>
          <p:cNvSpPr/>
          <p:nvPr/>
        </p:nvSpPr>
        <p:spPr>
          <a:xfrm>
            <a:off x="5374351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4" name="object 1204"/>
          <p:cNvSpPr/>
          <p:nvPr/>
        </p:nvSpPr>
        <p:spPr>
          <a:xfrm>
            <a:off x="53798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5" name="object 1205"/>
          <p:cNvSpPr/>
          <p:nvPr/>
        </p:nvSpPr>
        <p:spPr>
          <a:xfrm>
            <a:off x="538707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6" name="object 1206"/>
          <p:cNvSpPr/>
          <p:nvPr/>
        </p:nvSpPr>
        <p:spPr>
          <a:xfrm>
            <a:off x="53925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7" name="object 1207"/>
          <p:cNvSpPr/>
          <p:nvPr/>
        </p:nvSpPr>
        <p:spPr>
          <a:xfrm>
            <a:off x="53998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8" name="object 1208"/>
          <p:cNvSpPr/>
          <p:nvPr/>
        </p:nvSpPr>
        <p:spPr>
          <a:xfrm>
            <a:off x="54052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09" name="object 1209"/>
          <p:cNvSpPr/>
          <p:nvPr/>
        </p:nvSpPr>
        <p:spPr>
          <a:xfrm>
            <a:off x="541252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0" name="object 1210"/>
          <p:cNvSpPr/>
          <p:nvPr/>
        </p:nvSpPr>
        <p:spPr>
          <a:xfrm>
            <a:off x="54179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1" name="object 1211"/>
          <p:cNvSpPr/>
          <p:nvPr/>
        </p:nvSpPr>
        <p:spPr>
          <a:xfrm>
            <a:off x="54252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2" name="object 1212"/>
          <p:cNvSpPr/>
          <p:nvPr/>
        </p:nvSpPr>
        <p:spPr>
          <a:xfrm>
            <a:off x="54307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3" name="object 1213"/>
          <p:cNvSpPr/>
          <p:nvPr/>
        </p:nvSpPr>
        <p:spPr>
          <a:xfrm>
            <a:off x="543797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4" name="object 1214"/>
          <p:cNvSpPr/>
          <p:nvPr/>
        </p:nvSpPr>
        <p:spPr>
          <a:xfrm>
            <a:off x="54434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5" name="object 1215"/>
          <p:cNvSpPr/>
          <p:nvPr/>
        </p:nvSpPr>
        <p:spPr>
          <a:xfrm>
            <a:off x="545070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6" name="object 1216"/>
          <p:cNvSpPr/>
          <p:nvPr/>
        </p:nvSpPr>
        <p:spPr>
          <a:xfrm>
            <a:off x="54561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7" name="object 1217"/>
          <p:cNvSpPr/>
          <p:nvPr/>
        </p:nvSpPr>
        <p:spPr>
          <a:xfrm>
            <a:off x="54634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8" name="object 1218"/>
          <p:cNvSpPr/>
          <p:nvPr/>
        </p:nvSpPr>
        <p:spPr>
          <a:xfrm>
            <a:off x="54688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19" name="object 1219"/>
          <p:cNvSpPr/>
          <p:nvPr/>
        </p:nvSpPr>
        <p:spPr>
          <a:xfrm>
            <a:off x="547615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0" name="object 1220"/>
          <p:cNvSpPr/>
          <p:nvPr/>
        </p:nvSpPr>
        <p:spPr>
          <a:xfrm>
            <a:off x="548160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1" name="object 1221"/>
          <p:cNvSpPr/>
          <p:nvPr/>
        </p:nvSpPr>
        <p:spPr>
          <a:xfrm>
            <a:off x="548887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2" name="object 1222"/>
          <p:cNvSpPr/>
          <p:nvPr/>
        </p:nvSpPr>
        <p:spPr>
          <a:xfrm>
            <a:off x="54943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3" name="object 1223"/>
          <p:cNvSpPr/>
          <p:nvPr/>
        </p:nvSpPr>
        <p:spPr>
          <a:xfrm>
            <a:off x="55016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4" name="object 1224"/>
          <p:cNvSpPr/>
          <p:nvPr/>
        </p:nvSpPr>
        <p:spPr>
          <a:xfrm>
            <a:off x="55070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5" name="object 1225"/>
          <p:cNvSpPr/>
          <p:nvPr/>
        </p:nvSpPr>
        <p:spPr>
          <a:xfrm>
            <a:off x="551432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6" name="object 1226"/>
          <p:cNvSpPr/>
          <p:nvPr/>
        </p:nvSpPr>
        <p:spPr>
          <a:xfrm>
            <a:off x="55197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7" name="object 1227"/>
          <p:cNvSpPr/>
          <p:nvPr/>
        </p:nvSpPr>
        <p:spPr>
          <a:xfrm>
            <a:off x="55270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8" name="object 1228"/>
          <p:cNvSpPr/>
          <p:nvPr/>
        </p:nvSpPr>
        <p:spPr>
          <a:xfrm>
            <a:off x="55325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29" name="object 1229"/>
          <p:cNvSpPr/>
          <p:nvPr/>
        </p:nvSpPr>
        <p:spPr>
          <a:xfrm>
            <a:off x="55397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0" name="object 1230"/>
          <p:cNvSpPr/>
          <p:nvPr/>
        </p:nvSpPr>
        <p:spPr>
          <a:xfrm>
            <a:off x="55452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1" name="object 1231"/>
          <p:cNvSpPr/>
          <p:nvPr/>
        </p:nvSpPr>
        <p:spPr>
          <a:xfrm>
            <a:off x="55525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2" name="object 1232"/>
          <p:cNvSpPr/>
          <p:nvPr/>
        </p:nvSpPr>
        <p:spPr>
          <a:xfrm>
            <a:off x="55579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3" name="object 1233"/>
          <p:cNvSpPr/>
          <p:nvPr/>
        </p:nvSpPr>
        <p:spPr>
          <a:xfrm>
            <a:off x="55652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4" name="object 1234"/>
          <p:cNvSpPr/>
          <p:nvPr/>
        </p:nvSpPr>
        <p:spPr>
          <a:xfrm>
            <a:off x="55706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5" name="object 1235"/>
          <p:cNvSpPr/>
          <p:nvPr/>
        </p:nvSpPr>
        <p:spPr>
          <a:xfrm>
            <a:off x="55779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6" name="object 1236"/>
          <p:cNvSpPr/>
          <p:nvPr/>
        </p:nvSpPr>
        <p:spPr>
          <a:xfrm>
            <a:off x="55834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7" name="object 1237"/>
          <p:cNvSpPr/>
          <p:nvPr/>
        </p:nvSpPr>
        <p:spPr>
          <a:xfrm>
            <a:off x="55906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8" name="object 1238"/>
          <p:cNvSpPr/>
          <p:nvPr/>
        </p:nvSpPr>
        <p:spPr>
          <a:xfrm>
            <a:off x="559613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39" name="object 1239"/>
          <p:cNvSpPr/>
          <p:nvPr/>
        </p:nvSpPr>
        <p:spPr>
          <a:xfrm>
            <a:off x="56034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0" name="object 1240"/>
          <p:cNvSpPr/>
          <p:nvPr/>
        </p:nvSpPr>
        <p:spPr>
          <a:xfrm>
            <a:off x="561067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1" name="object 1241"/>
          <p:cNvSpPr/>
          <p:nvPr/>
        </p:nvSpPr>
        <p:spPr>
          <a:xfrm>
            <a:off x="56161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2" name="object 1242"/>
          <p:cNvSpPr/>
          <p:nvPr/>
        </p:nvSpPr>
        <p:spPr>
          <a:xfrm>
            <a:off x="562340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3" name="object 1243"/>
          <p:cNvSpPr/>
          <p:nvPr/>
        </p:nvSpPr>
        <p:spPr>
          <a:xfrm>
            <a:off x="56288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4" name="object 1244"/>
          <p:cNvSpPr/>
          <p:nvPr/>
        </p:nvSpPr>
        <p:spPr>
          <a:xfrm>
            <a:off x="5636125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5" name="object 1245"/>
          <p:cNvSpPr/>
          <p:nvPr/>
        </p:nvSpPr>
        <p:spPr>
          <a:xfrm>
            <a:off x="56415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6" name="object 1246"/>
          <p:cNvSpPr/>
          <p:nvPr/>
        </p:nvSpPr>
        <p:spPr>
          <a:xfrm>
            <a:off x="564885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7" name="object 1247"/>
          <p:cNvSpPr/>
          <p:nvPr/>
        </p:nvSpPr>
        <p:spPr>
          <a:xfrm>
            <a:off x="56543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8" name="object 1248"/>
          <p:cNvSpPr/>
          <p:nvPr/>
        </p:nvSpPr>
        <p:spPr>
          <a:xfrm>
            <a:off x="5661576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49" name="object 1249"/>
          <p:cNvSpPr/>
          <p:nvPr/>
        </p:nvSpPr>
        <p:spPr>
          <a:xfrm>
            <a:off x="56670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0" name="object 1250"/>
          <p:cNvSpPr/>
          <p:nvPr/>
        </p:nvSpPr>
        <p:spPr>
          <a:xfrm>
            <a:off x="5674300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1" name="object 1251"/>
          <p:cNvSpPr/>
          <p:nvPr/>
        </p:nvSpPr>
        <p:spPr>
          <a:xfrm>
            <a:off x="56797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2" name="object 1252"/>
          <p:cNvSpPr/>
          <p:nvPr/>
        </p:nvSpPr>
        <p:spPr>
          <a:xfrm>
            <a:off x="568702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3" name="object 1253"/>
          <p:cNvSpPr/>
          <p:nvPr/>
        </p:nvSpPr>
        <p:spPr>
          <a:xfrm>
            <a:off x="56924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4" name="object 1254"/>
          <p:cNvSpPr/>
          <p:nvPr/>
        </p:nvSpPr>
        <p:spPr>
          <a:xfrm>
            <a:off x="5699751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5" name="object 1255"/>
          <p:cNvSpPr/>
          <p:nvPr/>
        </p:nvSpPr>
        <p:spPr>
          <a:xfrm>
            <a:off x="57052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6" name="object 1256"/>
          <p:cNvSpPr/>
          <p:nvPr/>
        </p:nvSpPr>
        <p:spPr>
          <a:xfrm>
            <a:off x="5712476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7" name="object 1257"/>
          <p:cNvSpPr/>
          <p:nvPr/>
        </p:nvSpPr>
        <p:spPr>
          <a:xfrm>
            <a:off x="57179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8" name="object 1258"/>
          <p:cNvSpPr/>
          <p:nvPr/>
        </p:nvSpPr>
        <p:spPr>
          <a:xfrm>
            <a:off x="572520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59" name="object 1259"/>
          <p:cNvSpPr/>
          <p:nvPr/>
        </p:nvSpPr>
        <p:spPr>
          <a:xfrm>
            <a:off x="57306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0" name="object 1260"/>
          <p:cNvSpPr/>
          <p:nvPr/>
        </p:nvSpPr>
        <p:spPr>
          <a:xfrm>
            <a:off x="5737926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1" name="object 1261"/>
          <p:cNvSpPr/>
          <p:nvPr/>
        </p:nvSpPr>
        <p:spPr>
          <a:xfrm>
            <a:off x="57433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2" name="object 1262"/>
          <p:cNvSpPr/>
          <p:nvPr/>
        </p:nvSpPr>
        <p:spPr>
          <a:xfrm>
            <a:off x="575065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3" name="object 1263"/>
          <p:cNvSpPr/>
          <p:nvPr/>
        </p:nvSpPr>
        <p:spPr>
          <a:xfrm>
            <a:off x="57561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4" name="object 1264"/>
          <p:cNvSpPr/>
          <p:nvPr/>
        </p:nvSpPr>
        <p:spPr>
          <a:xfrm>
            <a:off x="5763376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5" name="object 1265"/>
          <p:cNvSpPr/>
          <p:nvPr/>
        </p:nvSpPr>
        <p:spPr>
          <a:xfrm>
            <a:off x="57688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6" name="object 1266"/>
          <p:cNvSpPr/>
          <p:nvPr/>
        </p:nvSpPr>
        <p:spPr>
          <a:xfrm>
            <a:off x="577610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7" name="object 1267"/>
          <p:cNvSpPr/>
          <p:nvPr/>
        </p:nvSpPr>
        <p:spPr>
          <a:xfrm>
            <a:off x="57815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8" name="object 1268"/>
          <p:cNvSpPr/>
          <p:nvPr/>
        </p:nvSpPr>
        <p:spPr>
          <a:xfrm>
            <a:off x="578882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69" name="object 1269"/>
          <p:cNvSpPr/>
          <p:nvPr/>
        </p:nvSpPr>
        <p:spPr>
          <a:xfrm>
            <a:off x="57942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0" name="object 1270"/>
          <p:cNvSpPr/>
          <p:nvPr/>
        </p:nvSpPr>
        <p:spPr>
          <a:xfrm>
            <a:off x="580155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1" name="object 1271"/>
          <p:cNvSpPr/>
          <p:nvPr/>
        </p:nvSpPr>
        <p:spPr>
          <a:xfrm>
            <a:off x="58070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2" name="object 1272"/>
          <p:cNvSpPr/>
          <p:nvPr/>
        </p:nvSpPr>
        <p:spPr>
          <a:xfrm>
            <a:off x="581427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3" name="object 1273"/>
          <p:cNvSpPr/>
          <p:nvPr/>
        </p:nvSpPr>
        <p:spPr>
          <a:xfrm>
            <a:off x="58197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4" name="object 1274"/>
          <p:cNvSpPr/>
          <p:nvPr/>
        </p:nvSpPr>
        <p:spPr>
          <a:xfrm>
            <a:off x="58270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5" name="object 1275"/>
          <p:cNvSpPr/>
          <p:nvPr/>
        </p:nvSpPr>
        <p:spPr>
          <a:xfrm>
            <a:off x="58324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6" name="object 1276"/>
          <p:cNvSpPr/>
          <p:nvPr/>
        </p:nvSpPr>
        <p:spPr>
          <a:xfrm>
            <a:off x="583972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7" name="object 1277"/>
          <p:cNvSpPr/>
          <p:nvPr/>
        </p:nvSpPr>
        <p:spPr>
          <a:xfrm>
            <a:off x="58451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8" name="object 1278"/>
          <p:cNvSpPr/>
          <p:nvPr/>
        </p:nvSpPr>
        <p:spPr>
          <a:xfrm>
            <a:off x="585245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79" name="object 1279"/>
          <p:cNvSpPr/>
          <p:nvPr/>
        </p:nvSpPr>
        <p:spPr>
          <a:xfrm>
            <a:off x="585790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0" name="object 1280"/>
          <p:cNvSpPr/>
          <p:nvPr/>
        </p:nvSpPr>
        <p:spPr>
          <a:xfrm>
            <a:off x="586517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1" name="object 1281"/>
          <p:cNvSpPr/>
          <p:nvPr/>
        </p:nvSpPr>
        <p:spPr>
          <a:xfrm>
            <a:off x="58706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2" name="object 1282"/>
          <p:cNvSpPr/>
          <p:nvPr/>
        </p:nvSpPr>
        <p:spPr>
          <a:xfrm>
            <a:off x="587790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3" name="object 1283"/>
          <p:cNvSpPr/>
          <p:nvPr/>
        </p:nvSpPr>
        <p:spPr>
          <a:xfrm>
            <a:off x="58833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4" name="object 1284"/>
          <p:cNvSpPr/>
          <p:nvPr/>
        </p:nvSpPr>
        <p:spPr>
          <a:xfrm>
            <a:off x="58906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5" name="object 1285"/>
          <p:cNvSpPr/>
          <p:nvPr/>
        </p:nvSpPr>
        <p:spPr>
          <a:xfrm>
            <a:off x="58960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6" name="object 1286"/>
          <p:cNvSpPr/>
          <p:nvPr/>
        </p:nvSpPr>
        <p:spPr>
          <a:xfrm>
            <a:off x="59033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7" name="object 1287"/>
          <p:cNvSpPr/>
          <p:nvPr/>
        </p:nvSpPr>
        <p:spPr>
          <a:xfrm>
            <a:off x="59088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8" name="object 1288"/>
          <p:cNvSpPr/>
          <p:nvPr/>
        </p:nvSpPr>
        <p:spPr>
          <a:xfrm>
            <a:off x="59160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89" name="object 1289"/>
          <p:cNvSpPr/>
          <p:nvPr/>
        </p:nvSpPr>
        <p:spPr>
          <a:xfrm>
            <a:off x="59215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0" name="object 1290"/>
          <p:cNvSpPr/>
          <p:nvPr/>
        </p:nvSpPr>
        <p:spPr>
          <a:xfrm>
            <a:off x="59288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1" name="object 1291"/>
          <p:cNvSpPr/>
          <p:nvPr/>
        </p:nvSpPr>
        <p:spPr>
          <a:xfrm>
            <a:off x="59342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2" name="object 1292"/>
          <p:cNvSpPr/>
          <p:nvPr/>
        </p:nvSpPr>
        <p:spPr>
          <a:xfrm>
            <a:off x="594152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3" name="object 1293"/>
          <p:cNvSpPr/>
          <p:nvPr/>
        </p:nvSpPr>
        <p:spPr>
          <a:xfrm>
            <a:off x="594698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4" name="object 1294"/>
          <p:cNvSpPr/>
          <p:nvPr/>
        </p:nvSpPr>
        <p:spPr>
          <a:xfrm>
            <a:off x="59542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5" name="object 1295"/>
          <p:cNvSpPr/>
          <p:nvPr/>
        </p:nvSpPr>
        <p:spPr>
          <a:xfrm>
            <a:off x="595970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6" name="object 1296"/>
          <p:cNvSpPr/>
          <p:nvPr/>
        </p:nvSpPr>
        <p:spPr>
          <a:xfrm>
            <a:off x="59669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7" name="object 1297"/>
          <p:cNvSpPr/>
          <p:nvPr/>
        </p:nvSpPr>
        <p:spPr>
          <a:xfrm>
            <a:off x="597243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8" name="object 1298"/>
          <p:cNvSpPr/>
          <p:nvPr/>
        </p:nvSpPr>
        <p:spPr>
          <a:xfrm>
            <a:off x="59797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299" name="object 1299"/>
          <p:cNvSpPr/>
          <p:nvPr/>
        </p:nvSpPr>
        <p:spPr>
          <a:xfrm>
            <a:off x="598515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0" name="object 1300"/>
          <p:cNvSpPr/>
          <p:nvPr/>
        </p:nvSpPr>
        <p:spPr>
          <a:xfrm>
            <a:off x="59924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1" name="object 1301"/>
          <p:cNvSpPr/>
          <p:nvPr/>
        </p:nvSpPr>
        <p:spPr>
          <a:xfrm>
            <a:off x="599788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2" name="object 1302"/>
          <p:cNvSpPr/>
          <p:nvPr/>
        </p:nvSpPr>
        <p:spPr>
          <a:xfrm>
            <a:off x="60051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3" name="object 1303"/>
          <p:cNvSpPr/>
          <p:nvPr/>
        </p:nvSpPr>
        <p:spPr>
          <a:xfrm>
            <a:off x="601060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4" name="object 1304"/>
          <p:cNvSpPr/>
          <p:nvPr/>
        </p:nvSpPr>
        <p:spPr>
          <a:xfrm>
            <a:off x="60178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5" name="object 1305"/>
          <p:cNvSpPr/>
          <p:nvPr/>
        </p:nvSpPr>
        <p:spPr>
          <a:xfrm>
            <a:off x="602333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6" name="object 1306"/>
          <p:cNvSpPr/>
          <p:nvPr/>
        </p:nvSpPr>
        <p:spPr>
          <a:xfrm>
            <a:off x="60306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7" name="object 1307"/>
          <p:cNvSpPr/>
          <p:nvPr/>
        </p:nvSpPr>
        <p:spPr>
          <a:xfrm>
            <a:off x="603605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8" name="object 1308"/>
          <p:cNvSpPr/>
          <p:nvPr/>
        </p:nvSpPr>
        <p:spPr>
          <a:xfrm>
            <a:off x="60433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09" name="object 1309"/>
          <p:cNvSpPr/>
          <p:nvPr/>
        </p:nvSpPr>
        <p:spPr>
          <a:xfrm>
            <a:off x="605060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0" name="object 1310"/>
          <p:cNvSpPr/>
          <p:nvPr/>
        </p:nvSpPr>
        <p:spPr>
          <a:xfrm>
            <a:off x="60560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1" name="object 1311"/>
          <p:cNvSpPr/>
          <p:nvPr/>
        </p:nvSpPr>
        <p:spPr>
          <a:xfrm>
            <a:off x="606332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2" name="object 1312"/>
          <p:cNvSpPr/>
          <p:nvPr/>
        </p:nvSpPr>
        <p:spPr>
          <a:xfrm>
            <a:off x="60687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3" name="object 1313"/>
          <p:cNvSpPr/>
          <p:nvPr/>
        </p:nvSpPr>
        <p:spPr>
          <a:xfrm>
            <a:off x="6076051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4" name="object 1314"/>
          <p:cNvSpPr/>
          <p:nvPr/>
        </p:nvSpPr>
        <p:spPr>
          <a:xfrm>
            <a:off x="60815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5" name="object 1315"/>
          <p:cNvSpPr/>
          <p:nvPr/>
        </p:nvSpPr>
        <p:spPr>
          <a:xfrm>
            <a:off x="608877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6" name="object 1316"/>
          <p:cNvSpPr/>
          <p:nvPr/>
        </p:nvSpPr>
        <p:spPr>
          <a:xfrm>
            <a:off x="60942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7" name="object 1317"/>
          <p:cNvSpPr/>
          <p:nvPr/>
        </p:nvSpPr>
        <p:spPr>
          <a:xfrm>
            <a:off x="610150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8" name="object 1318"/>
          <p:cNvSpPr/>
          <p:nvPr/>
        </p:nvSpPr>
        <p:spPr>
          <a:xfrm>
            <a:off x="61069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19" name="object 1319"/>
          <p:cNvSpPr/>
          <p:nvPr/>
        </p:nvSpPr>
        <p:spPr>
          <a:xfrm>
            <a:off x="611422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0" name="object 1320"/>
          <p:cNvSpPr/>
          <p:nvPr/>
        </p:nvSpPr>
        <p:spPr>
          <a:xfrm>
            <a:off x="61196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1" name="object 1321"/>
          <p:cNvSpPr/>
          <p:nvPr/>
        </p:nvSpPr>
        <p:spPr>
          <a:xfrm>
            <a:off x="612695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2" name="object 1322"/>
          <p:cNvSpPr/>
          <p:nvPr/>
        </p:nvSpPr>
        <p:spPr>
          <a:xfrm>
            <a:off x="61324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3" name="object 1323"/>
          <p:cNvSpPr/>
          <p:nvPr/>
        </p:nvSpPr>
        <p:spPr>
          <a:xfrm>
            <a:off x="613967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4" name="object 1324"/>
          <p:cNvSpPr/>
          <p:nvPr/>
        </p:nvSpPr>
        <p:spPr>
          <a:xfrm>
            <a:off x="61451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5" name="object 1325"/>
          <p:cNvSpPr/>
          <p:nvPr/>
        </p:nvSpPr>
        <p:spPr>
          <a:xfrm>
            <a:off x="615240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6" name="object 1326"/>
          <p:cNvSpPr/>
          <p:nvPr/>
        </p:nvSpPr>
        <p:spPr>
          <a:xfrm>
            <a:off x="61578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7" name="object 1327"/>
          <p:cNvSpPr/>
          <p:nvPr/>
        </p:nvSpPr>
        <p:spPr>
          <a:xfrm>
            <a:off x="616512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8" name="object 1328"/>
          <p:cNvSpPr/>
          <p:nvPr/>
        </p:nvSpPr>
        <p:spPr>
          <a:xfrm>
            <a:off x="61705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29" name="object 1329"/>
          <p:cNvSpPr/>
          <p:nvPr/>
        </p:nvSpPr>
        <p:spPr>
          <a:xfrm>
            <a:off x="617785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0" name="object 1330"/>
          <p:cNvSpPr/>
          <p:nvPr/>
        </p:nvSpPr>
        <p:spPr>
          <a:xfrm>
            <a:off x="618330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1" name="object 1331"/>
          <p:cNvSpPr/>
          <p:nvPr/>
        </p:nvSpPr>
        <p:spPr>
          <a:xfrm>
            <a:off x="619057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2" name="object 1332"/>
          <p:cNvSpPr/>
          <p:nvPr/>
        </p:nvSpPr>
        <p:spPr>
          <a:xfrm>
            <a:off x="61960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3" name="object 1333"/>
          <p:cNvSpPr/>
          <p:nvPr/>
        </p:nvSpPr>
        <p:spPr>
          <a:xfrm>
            <a:off x="620330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4" name="object 1334"/>
          <p:cNvSpPr/>
          <p:nvPr/>
        </p:nvSpPr>
        <p:spPr>
          <a:xfrm>
            <a:off x="62087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5" name="object 1335"/>
          <p:cNvSpPr/>
          <p:nvPr/>
        </p:nvSpPr>
        <p:spPr>
          <a:xfrm>
            <a:off x="6216027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6" name="object 1336"/>
          <p:cNvSpPr/>
          <p:nvPr/>
        </p:nvSpPr>
        <p:spPr>
          <a:xfrm>
            <a:off x="622148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7" name="object 1337"/>
          <p:cNvSpPr/>
          <p:nvPr/>
        </p:nvSpPr>
        <p:spPr>
          <a:xfrm>
            <a:off x="622875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8" name="object 1338"/>
          <p:cNvSpPr/>
          <p:nvPr/>
        </p:nvSpPr>
        <p:spPr>
          <a:xfrm>
            <a:off x="62342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39" name="object 1339"/>
          <p:cNvSpPr/>
          <p:nvPr/>
        </p:nvSpPr>
        <p:spPr>
          <a:xfrm>
            <a:off x="624147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0" name="object 1340"/>
          <p:cNvSpPr/>
          <p:nvPr/>
        </p:nvSpPr>
        <p:spPr>
          <a:xfrm>
            <a:off x="62469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1" name="object 1341"/>
          <p:cNvSpPr/>
          <p:nvPr/>
        </p:nvSpPr>
        <p:spPr>
          <a:xfrm>
            <a:off x="62542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2" name="object 1342"/>
          <p:cNvSpPr/>
          <p:nvPr/>
        </p:nvSpPr>
        <p:spPr>
          <a:xfrm>
            <a:off x="625965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3" name="object 1343"/>
          <p:cNvSpPr/>
          <p:nvPr/>
        </p:nvSpPr>
        <p:spPr>
          <a:xfrm>
            <a:off x="62669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4" name="object 1344"/>
          <p:cNvSpPr/>
          <p:nvPr/>
        </p:nvSpPr>
        <p:spPr>
          <a:xfrm>
            <a:off x="627238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5" name="object 1345"/>
          <p:cNvSpPr/>
          <p:nvPr/>
        </p:nvSpPr>
        <p:spPr>
          <a:xfrm>
            <a:off x="627965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6" name="object 1346"/>
          <p:cNvSpPr/>
          <p:nvPr/>
        </p:nvSpPr>
        <p:spPr>
          <a:xfrm>
            <a:off x="628510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7" name="object 1347"/>
          <p:cNvSpPr/>
          <p:nvPr/>
        </p:nvSpPr>
        <p:spPr>
          <a:xfrm>
            <a:off x="629237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8" name="object 1348"/>
          <p:cNvSpPr/>
          <p:nvPr/>
        </p:nvSpPr>
        <p:spPr>
          <a:xfrm>
            <a:off x="629783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49" name="object 1349"/>
          <p:cNvSpPr/>
          <p:nvPr/>
        </p:nvSpPr>
        <p:spPr>
          <a:xfrm>
            <a:off x="630510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0" name="object 1350"/>
          <p:cNvSpPr/>
          <p:nvPr/>
        </p:nvSpPr>
        <p:spPr>
          <a:xfrm>
            <a:off x="631055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1" name="object 1351"/>
          <p:cNvSpPr/>
          <p:nvPr/>
        </p:nvSpPr>
        <p:spPr>
          <a:xfrm>
            <a:off x="631782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2" name="object 1352"/>
          <p:cNvSpPr/>
          <p:nvPr/>
        </p:nvSpPr>
        <p:spPr>
          <a:xfrm>
            <a:off x="632328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3" name="object 1353"/>
          <p:cNvSpPr/>
          <p:nvPr/>
        </p:nvSpPr>
        <p:spPr>
          <a:xfrm>
            <a:off x="633055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4" name="object 1354"/>
          <p:cNvSpPr/>
          <p:nvPr/>
        </p:nvSpPr>
        <p:spPr>
          <a:xfrm>
            <a:off x="633600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5" name="object 1355"/>
          <p:cNvSpPr/>
          <p:nvPr/>
        </p:nvSpPr>
        <p:spPr>
          <a:xfrm>
            <a:off x="634327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6" name="object 1356"/>
          <p:cNvSpPr/>
          <p:nvPr/>
        </p:nvSpPr>
        <p:spPr>
          <a:xfrm>
            <a:off x="634873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7" name="object 1357"/>
          <p:cNvSpPr/>
          <p:nvPr/>
        </p:nvSpPr>
        <p:spPr>
          <a:xfrm>
            <a:off x="63560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8" name="object 1358"/>
          <p:cNvSpPr/>
          <p:nvPr/>
        </p:nvSpPr>
        <p:spPr>
          <a:xfrm>
            <a:off x="636145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59" name="object 1359"/>
          <p:cNvSpPr/>
          <p:nvPr/>
        </p:nvSpPr>
        <p:spPr>
          <a:xfrm>
            <a:off x="63687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0" name="object 1360"/>
          <p:cNvSpPr/>
          <p:nvPr/>
        </p:nvSpPr>
        <p:spPr>
          <a:xfrm>
            <a:off x="637418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1" name="object 1361"/>
          <p:cNvSpPr/>
          <p:nvPr/>
        </p:nvSpPr>
        <p:spPr>
          <a:xfrm>
            <a:off x="63814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2" name="object 1362"/>
          <p:cNvSpPr/>
          <p:nvPr/>
        </p:nvSpPr>
        <p:spPr>
          <a:xfrm>
            <a:off x="638690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3" name="object 1363"/>
          <p:cNvSpPr/>
          <p:nvPr/>
        </p:nvSpPr>
        <p:spPr>
          <a:xfrm>
            <a:off x="63941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4" name="object 1364"/>
          <p:cNvSpPr/>
          <p:nvPr/>
        </p:nvSpPr>
        <p:spPr>
          <a:xfrm>
            <a:off x="6399633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5" name="object 1365"/>
          <p:cNvSpPr/>
          <p:nvPr/>
        </p:nvSpPr>
        <p:spPr>
          <a:xfrm>
            <a:off x="640690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6" name="object 1366"/>
          <p:cNvSpPr/>
          <p:nvPr/>
        </p:nvSpPr>
        <p:spPr>
          <a:xfrm>
            <a:off x="641235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7" name="object 1367"/>
          <p:cNvSpPr/>
          <p:nvPr/>
        </p:nvSpPr>
        <p:spPr>
          <a:xfrm>
            <a:off x="64196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8" name="object 1368"/>
          <p:cNvSpPr/>
          <p:nvPr/>
        </p:nvSpPr>
        <p:spPr>
          <a:xfrm>
            <a:off x="642508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69" name="object 1369"/>
          <p:cNvSpPr/>
          <p:nvPr/>
        </p:nvSpPr>
        <p:spPr>
          <a:xfrm>
            <a:off x="6432355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0" name="object 1370"/>
          <p:cNvSpPr/>
          <p:nvPr/>
        </p:nvSpPr>
        <p:spPr>
          <a:xfrm>
            <a:off x="6437809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1" name="object 1371"/>
          <p:cNvSpPr/>
          <p:nvPr/>
        </p:nvSpPr>
        <p:spPr>
          <a:xfrm>
            <a:off x="64450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2" name="object 1372"/>
          <p:cNvSpPr/>
          <p:nvPr/>
        </p:nvSpPr>
        <p:spPr>
          <a:xfrm>
            <a:off x="6450534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3" name="object 1373"/>
          <p:cNvSpPr/>
          <p:nvPr/>
        </p:nvSpPr>
        <p:spPr>
          <a:xfrm>
            <a:off x="64578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4" name="object 1374"/>
          <p:cNvSpPr/>
          <p:nvPr/>
        </p:nvSpPr>
        <p:spPr>
          <a:xfrm>
            <a:off x="6463258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5" name="object 1375"/>
          <p:cNvSpPr/>
          <p:nvPr/>
        </p:nvSpPr>
        <p:spPr>
          <a:xfrm>
            <a:off x="6470531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6" name="object 1376"/>
          <p:cNvSpPr/>
          <p:nvPr/>
        </p:nvSpPr>
        <p:spPr>
          <a:xfrm>
            <a:off x="647780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7" name="object 1377"/>
          <p:cNvSpPr/>
          <p:nvPr/>
        </p:nvSpPr>
        <p:spPr>
          <a:xfrm>
            <a:off x="6483257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8" name="object 1378"/>
          <p:cNvSpPr/>
          <p:nvPr/>
        </p:nvSpPr>
        <p:spPr>
          <a:xfrm>
            <a:off x="649052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79" name="object 1379"/>
          <p:cNvSpPr/>
          <p:nvPr/>
        </p:nvSpPr>
        <p:spPr>
          <a:xfrm>
            <a:off x="649598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0" name="object 1380"/>
          <p:cNvSpPr/>
          <p:nvPr/>
        </p:nvSpPr>
        <p:spPr>
          <a:xfrm>
            <a:off x="6503252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1" name="object 1381"/>
          <p:cNvSpPr/>
          <p:nvPr/>
        </p:nvSpPr>
        <p:spPr>
          <a:xfrm>
            <a:off x="65087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2" name="object 1382"/>
          <p:cNvSpPr/>
          <p:nvPr/>
        </p:nvSpPr>
        <p:spPr>
          <a:xfrm>
            <a:off x="6515979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3" name="object 1383"/>
          <p:cNvSpPr/>
          <p:nvPr/>
        </p:nvSpPr>
        <p:spPr>
          <a:xfrm>
            <a:off x="6521430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4" name="object 1384"/>
          <p:cNvSpPr/>
          <p:nvPr/>
        </p:nvSpPr>
        <p:spPr>
          <a:xfrm>
            <a:off x="6528703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5" name="object 1385"/>
          <p:cNvSpPr/>
          <p:nvPr/>
        </p:nvSpPr>
        <p:spPr>
          <a:xfrm>
            <a:off x="653415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6" name="object 1386"/>
          <p:cNvSpPr/>
          <p:nvPr/>
        </p:nvSpPr>
        <p:spPr>
          <a:xfrm>
            <a:off x="654142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7" name="object 1387"/>
          <p:cNvSpPr/>
          <p:nvPr/>
        </p:nvSpPr>
        <p:spPr>
          <a:xfrm>
            <a:off x="654688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8" name="object 1388"/>
          <p:cNvSpPr/>
          <p:nvPr/>
        </p:nvSpPr>
        <p:spPr>
          <a:xfrm>
            <a:off x="655415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89" name="object 1389"/>
          <p:cNvSpPr/>
          <p:nvPr/>
        </p:nvSpPr>
        <p:spPr>
          <a:xfrm>
            <a:off x="6559606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0" name="object 1390"/>
          <p:cNvSpPr/>
          <p:nvPr/>
        </p:nvSpPr>
        <p:spPr>
          <a:xfrm>
            <a:off x="656687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1" name="object 1391"/>
          <p:cNvSpPr/>
          <p:nvPr/>
        </p:nvSpPr>
        <p:spPr>
          <a:xfrm>
            <a:off x="6572332" y="3398140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2" name="object 1392"/>
          <p:cNvSpPr/>
          <p:nvPr/>
        </p:nvSpPr>
        <p:spPr>
          <a:xfrm>
            <a:off x="6579604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3" name="object 1393"/>
          <p:cNvSpPr/>
          <p:nvPr/>
        </p:nvSpPr>
        <p:spPr>
          <a:xfrm>
            <a:off x="6585058" y="3398140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4" name="object 1394"/>
          <p:cNvSpPr/>
          <p:nvPr/>
        </p:nvSpPr>
        <p:spPr>
          <a:xfrm>
            <a:off x="44872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5" name="object 1395"/>
          <p:cNvSpPr/>
          <p:nvPr/>
        </p:nvSpPr>
        <p:spPr>
          <a:xfrm>
            <a:off x="449450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6" name="object 1396"/>
          <p:cNvSpPr/>
          <p:nvPr/>
        </p:nvSpPr>
        <p:spPr>
          <a:xfrm>
            <a:off x="449995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7" name="object 1397"/>
          <p:cNvSpPr/>
          <p:nvPr/>
        </p:nvSpPr>
        <p:spPr>
          <a:xfrm>
            <a:off x="450722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8" name="object 1398"/>
          <p:cNvSpPr/>
          <p:nvPr/>
        </p:nvSpPr>
        <p:spPr>
          <a:xfrm>
            <a:off x="451267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399" name="object 1399"/>
          <p:cNvSpPr/>
          <p:nvPr/>
        </p:nvSpPr>
        <p:spPr>
          <a:xfrm>
            <a:off x="451994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0" name="object 1400"/>
          <p:cNvSpPr/>
          <p:nvPr/>
        </p:nvSpPr>
        <p:spPr>
          <a:xfrm>
            <a:off x="45254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1" name="object 1401"/>
          <p:cNvSpPr/>
          <p:nvPr/>
        </p:nvSpPr>
        <p:spPr>
          <a:xfrm>
            <a:off x="453267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2" name="object 1402"/>
          <p:cNvSpPr/>
          <p:nvPr/>
        </p:nvSpPr>
        <p:spPr>
          <a:xfrm>
            <a:off x="45381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3" name="object 1403"/>
          <p:cNvSpPr/>
          <p:nvPr/>
        </p:nvSpPr>
        <p:spPr>
          <a:xfrm>
            <a:off x="454539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4" name="object 1404"/>
          <p:cNvSpPr/>
          <p:nvPr/>
        </p:nvSpPr>
        <p:spPr>
          <a:xfrm>
            <a:off x="45508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5" name="object 1405"/>
          <p:cNvSpPr/>
          <p:nvPr/>
        </p:nvSpPr>
        <p:spPr>
          <a:xfrm>
            <a:off x="455812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6" name="object 1406"/>
          <p:cNvSpPr/>
          <p:nvPr/>
        </p:nvSpPr>
        <p:spPr>
          <a:xfrm>
            <a:off x="45635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7" name="object 1407"/>
          <p:cNvSpPr/>
          <p:nvPr/>
        </p:nvSpPr>
        <p:spPr>
          <a:xfrm>
            <a:off x="457084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8" name="object 1408"/>
          <p:cNvSpPr/>
          <p:nvPr/>
        </p:nvSpPr>
        <p:spPr>
          <a:xfrm>
            <a:off x="45763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09" name="object 1409"/>
          <p:cNvSpPr/>
          <p:nvPr/>
        </p:nvSpPr>
        <p:spPr>
          <a:xfrm>
            <a:off x="458357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0" name="object 1410"/>
          <p:cNvSpPr/>
          <p:nvPr/>
        </p:nvSpPr>
        <p:spPr>
          <a:xfrm>
            <a:off x="45890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1" name="object 1411"/>
          <p:cNvSpPr/>
          <p:nvPr/>
        </p:nvSpPr>
        <p:spPr>
          <a:xfrm>
            <a:off x="45963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2" name="object 1412"/>
          <p:cNvSpPr/>
          <p:nvPr/>
        </p:nvSpPr>
        <p:spPr>
          <a:xfrm>
            <a:off x="46017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3" name="object 1413"/>
          <p:cNvSpPr/>
          <p:nvPr/>
        </p:nvSpPr>
        <p:spPr>
          <a:xfrm>
            <a:off x="460902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4" name="object 1414"/>
          <p:cNvSpPr/>
          <p:nvPr/>
        </p:nvSpPr>
        <p:spPr>
          <a:xfrm>
            <a:off x="46144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5" name="object 1415"/>
          <p:cNvSpPr/>
          <p:nvPr/>
        </p:nvSpPr>
        <p:spPr>
          <a:xfrm>
            <a:off x="462174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6" name="object 1416"/>
          <p:cNvSpPr/>
          <p:nvPr/>
        </p:nvSpPr>
        <p:spPr>
          <a:xfrm>
            <a:off x="46272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7" name="object 1417"/>
          <p:cNvSpPr/>
          <p:nvPr/>
        </p:nvSpPr>
        <p:spPr>
          <a:xfrm>
            <a:off x="463447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8" name="object 1418"/>
          <p:cNvSpPr/>
          <p:nvPr/>
        </p:nvSpPr>
        <p:spPr>
          <a:xfrm>
            <a:off x="46399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19" name="object 1419"/>
          <p:cNvSpPr/>
          <p:nvPr/>
        </p:nvSpPr>
        <p:spPr>
          <a:xfrm>
            <a:off x="464720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0" name="object 1420"/>
          <p:cNvSpPr/>
          <p:nvPr/>
        </p:nvSpPr>
        <p:spPr>
          <a:xfrm>
            <a:off x="46526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1" name="object 1421"/>
          <p:cNvSpPr/>
          <p:nvPr/>
        </p:nvSpPr>
        <p:spPr>
          <a:xfrm>
            <a:off x="465992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2" name="object 1422"/>
          <p:cNvSpPr/>
          <p:nvPr/>
        </p:nvSpPr>
        <p:spPr>
          <a:xfrm>
            <a:off x="46653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3" name="object 1423"/>
          <p:cNvSpPr/>
          <p:nvPr/>
        </p:nvSpPr>
        <p:spPr>
          <a:xfrm>
            <a:off x="467265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4" name="object 1424"/>
          <p:cNvSpPr/>
          <p:nvPr/>
        </p:nvSpPr>
        <p:spPr>
          <a:xfrm>
            <a:off x="46781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5" name="object 1425"/>
          <p:cNvSpPr/>
          <p:nvPr/>
        </p:nvSpPr>
        <p:spPr>
          <a:xfrm>
            <a:off x="468537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6" name="object 1426"/>
          <p:cNvSpPr/>
          <p:nvPr/>
        </p:nvSpPr>
        <p:spPr>
          <a:xfrm>
            <a:off x="46908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7" name="object 1427"/>
          <p:cNvSpPr/>
          <p:nvPr/>
        </p:nvSpPr>
        <p:spPr>
          <a:xfrm>
            <a:off x="46981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8" name="object 1428"/>
          <p:cNvSpPr/>
          <p:nvPr/>
        </p:nvSpPr>
        <p:spPr>
          <a:xfrm>
            <a:off x="47035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29" name="object 1429"/>
          <p:cNvSpPr/>
          <p:nvPr/>
        </p:nvSpPr>
        <p:spPr>
          <a:xfrm>
            <a:off x="47108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0" name="object 1430"/>
          <p:cNvSpPr/>
          <p:nvPr/>
        </p:nvSpPr>
        <p:spPr>
          <a:xfrm>
            <a:off x="47162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1" name="object 1431"/>
          <p:cNvSpPr/>
          <p:nvPr/>
        </p:nvSpPr>
        <p:spPr>
          <a:xfrm>
            <a:off x="472355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2" name="object 1432"/>
          <p:cNvSpPr/>
          <p:nvPr/>
        </p:nvSpPr>
        <p:spPr>
          <a:xfrm>
            <a:off x="47290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3" name="object 1433"/>
          <p:cNvSpPr/>
          <p:nvPr/>
        </p:nvSpPr>
        <p:spPr>
          <a:xfrm>
            <a:off x="473627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4" name="object 1434"/>
          <p:cNvSpPr/>
          <p:nvPr/>
        </p:nvSpPr>
        <p:spPr>
          <a:xfrm>
            <a:off x="474354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5" name="object 1435"/>
          <p:cNvSpPr/>
          <p:nvPr/>
        </p:nvSpPr>
        <p:spPr>
          <a:xfrm>
            <a:off x="47490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6" name="object 1436"/>
          <p:cNvSpPr/>
          <p:nvPr/>
        </p:nvSpPr>
        <p:spPr>
          <a:xfrm>
            <a:off x="475627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7" name="object 1437"/>
          <p:cNvSpPr/>
          <p:nvPr/>
        </p:nvSpPr>
        <p:spPr>
          <a:xfrm>
            <a:off x="476172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8" name="object 1438"/>
          <p:cNvSpPr/>
          <p:nvPr/>
        </p:nvSpPr>
        <p:spPr>
          <a:xfrm>
            <a:off x="476899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39" name="object 1439"/>
          <p:cNvSpPr/>
          <p:nvPr/>
        </p:nvSpPr>
        <p:spPr>
          <a:xfrm>
            <a:off x="477445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0" name="object 1440"/>
          <p:cNvSpPr/>
          <p:nvPr/>
        </p:nvSpPr>
        <p:spPr>
          <a:xfrm>
            <a:off x="478172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1" name="object 1441"/>
          <p:cNvSpPr/>
          <p:nvPr/>
        </p:nvSpPr>
        <p:spPr>
          <a:xfrm>
            <a:off x="478717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2" name="object 1442"/>
          <p:cNvSpPr/>
          <p:nvPr/>
        </p:nvSpPr>
        <p:spPr>
          <a:xfrm>
            <a:off x="479444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3" name="object 1443"/>
          <p:cNvSpPr/>
          <p:nvPr/>
        </p:nvSpPr>
        <p:spPr>
          <a:xfrm>
            <a:off x="47999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4" name="object 1444"/>
          <p:cNvSpPr/>
          <p:nvPr/>
        </p:nvSpPr>
        <p:spPr>
          <a:xfrm>
            <a:off x="480717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5" name="object 1445"/>
          <p:cNvSpPr/>
          <p:nvPr/>
        </p:nvSpPr>
        <p:spPr>
          <a:xfrm>
            <a:off x="48126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6" name="object 1446"/>
          <p:cNvSpPr/>
          <p:nvPr/>
        </p:nvSpPr>
        <p:spPr>
          <a:xfrm>
            <a:off x="481989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7" name="object 1447"/>
          <p:cNvSpPr/>
          <p:nvPr/>
        </p:nvSpPr>
        <p:spPr>
          <a:xfrm>
            <a:off x="482535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8" name="object 1448"/>
          <p:cNvSpPr/>
          <p:nvPr/>
        </p:nvSpPr>
        <p:spPr>
          <a:xfrm>
            <a:off x="483262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49" name="object 1449"/>
          <p:cNvSpPr/>
          <p:nvPr/>
        </p:nvSpPr>
        <p:spPr>
          <a:xfrm>
            <a:off x="483807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0" name="object 1450"/>
          <p:cNvSpPr/>
          <p:nvPr/>
        </p:nvSpPr>
        <p:spPr>
          <a:xfrm>
            <a:off x="484534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1" name="object 1451"/>
          <p:cNvSpPr/>
          <p:nvPr/>
        </p:nvSpPr>
        <p:spPr>
          <a:xfrm>
            <a:off x="48508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2" name="object 1452"/>
          <p:cNvSpPr/>
          <p:nvPr/>
        </p:nvSpPr>
        <p:spPr>
          <a:xfrm>
            <a:off x="485807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3" name="object 1453"/>
          <p:cNvSpPr/>
          <p:nvPr/>
        </p:nvSpPr>
        <p:spPr>
          <a:xfrm>
            <a:off x="48635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4" name="object 1454"/>
          <p:cNvSpPr/>
          <p:nvPr/>
        </p:nvSpPr>
        <p:spPr>
          <a:xfrm>
            <a:off x="487080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5" name="object 1455"/>
          <p:cNvSpPr/>
          <p:nvPr/>
        </p:nvSpPr>
        <p:spPr>
          <a:xfrm>
            <a:off x="487625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6" name="object 1456"/>
          <p:cNvSpPr/>
          <p:nvPr/>
        </p:nvSpPr>
        <p:spPr>
          <a:xfrm>
            <a:off x="488352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7" name="object 1457"/>
          <p:cNvSpPr/>
          <p:nvPr/>
        </p:nvSpPr>
        <p:spPr>
          <a:xfrm>
            <a:off x="48889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8" name="object 1458"/>
          <p:cNvSpPr/>
          <p:nvPr/>
        </p:nvSpPr>
        <p:spPr>
          <a:xfrm>
            <a:off x="489625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59" name="object 1459"/>
          <p:cNvSpPr/>
          <p:nvPr/>
        </p:nvSpPr>
        <p:spPr>
          <a:xfrm>
            <a:off x="49017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0" name="object 1460"/>
          <p:cNvSpPr/>
          <p:nvPr/>
        </p:nvSpPr>
        <p:spPr>
          <a:xfrm>
            <a:off x="490897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1" name="object 1461"/>
          <p:cNvSpPr/>
          <p:nvPr/>
        </p:nvSpPr>
        <p:spPr>
          <a:xfrm>
            <a:off x="49144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2" name="object 1462"/>
          <p:cNvSpPr/>
          <p:nvPr/>
        </p:nvSpPr>
        <p:spPr>
          <a:xfrm>
            <a:off x="492170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3" name="object 1463"/>
          <p:cNvSpPr/>
          <p:nvPr/>
        </p:nvSpPr>
        <p:spPr>
          <a:xfrm>
            <a:off x="49271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4" name="object 1464"/>
          <p:cNvSpPr/>
          <p:nvPr/>
        </p:nvSpPr>
        <p:spPr>
          <a:xfrm>
            <a:off x="493442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5" name="object 1465"/>
          <p:cNvSpPr/>
          <p:nvPr/>
        </p:nvSpPr>
        <p:spPr>
          <a:xfrm>
            <a:off x="49398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6" name="object 1466"/>
          <p:cNvSpPr/>
          <p:nvPr/>
        </p:nvSpPr>
        <p:spPr>
          <a:xfrm>
            <a:off x="4947151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7" name="object 1467"/>
          <p:cNvSpPr/>
          <p:nvPr/>
        </p:nvSpPr>
        <p:spPr>
          <a:xfrm>
            <a:off x="49526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8" name="object 1468"/>
          <p:cNvSpPr/>
          <p:nvPr/>
        </p:nvSpPr>
        <p:spPr>
          <a:xfrm>
            <a:off x="495987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69" name="object 1469"/>
          <p:cNvSpPr/>
          <p:nvPr/>
        </p:nvSpPr>
        <p:spPr>
          <a:xfrm>
            <a:off x="49653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0" name="object 1470"/>
          <p:cNvSpPr/>
          <p:nvPr/>
        </p:nvSpPr>
        <p:spPr>
          <a:xfrm>
            <a:off x="49726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1" name="object 1471"/>
          <p:cNvSpPr/>
          <p:nvPr/>
        </p:nvSpPr>
        <p:spPr>
          <a:xfrm>
            <a:off x="49780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2" name="object 1472"/>
          <p:cNvSpPr/>
          <p:nvPr/>
        </p:nvSpPr>
        <p:spPr>
          <a:xfrm>
            <a:off x="498532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3" name="object 1473"/>
          <p:cNvSpPr/>
          <p:nvPr/>
        </p:nvSpPr>
        <p:spPr>
          <a:xfrm>
            <a:off x="49907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4" name="object 1474"/>
          <p:cNvSpPr/>
          <p:nvPr/>
        </p:nvSpPr>
        <p:spPr>
          <a:xfrm>
            <a:off x="499805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5" name="object 1475"/>
          <p:cNvSpPr/>
          <p:nvPr/>
        </p:nvSpPr>
        <p:spPr>
          <a:xfrm>
            <a:off x="50035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6" name="object 1476"/>
          <p:cNvSpPr/>
          <p:nvPr/>
        </p:nvSpPr>
        <p:spPr>
          <a:xfrm>
            <a:off x="501077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7" name="object 1477"/>
          <p:cNvSpPr/>
          <p:nvPr/>
        </p:nvSpPr>
        <p:spPr>
          <a:xfrm>
            <a:off x="50162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8" name="object 1478"/>
          <p:cNvSpPr/>
          <p:nvPr/>
        </p:nvSpPr>
        <p:spPr>
          <a:xfrm>
            <a:off x="502350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79" name="object 1479"/>
          <p:cNvSpPr/>
          <p:nvPr/>
        </p:nvSpPr>
        <p:spPr>
          <a:xfrm>
            <a:off x="50289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0" name="object 1480"/>
          <p:cNvSpPr/>
          <p:nvPr/>
        </p:nvSpPr>
        <p:spPr>
          <a:xfrm>
            <a:off x="503622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1" name="object 1481"/>
          <p:cNvSpPr/>
          <p:nvPr/>
        </p:nvSpPr>
        <p:spPr>
          <a:xfrm>
            <a:off x="50416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2" name="object 1482"/>
          <p:cNvSpPr/>
          <p:nvPr/>
        </p:nvSpPr>
        <p:spPr>
          <a:xfrm>
            <a:off x="504895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3" name="object 1483"/>
          <p:cNvSpPr/>
          <p:nvPr/>
        </p:nvSpPr>
        <p:spPr>
          <a:xfrm>
            <a:off x="50544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4" name="object 1484"/>
          <p:cNvSpPr/>
          <p:nvPr/>
        </p:nvSpPr>
        <p:spPr>
          <a:xfrm>
            <a:off x="506167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5" name="object 1485"/>
          <p:cNvSpPr/>
          <p:nvPr/>
        </p:nvSpPr>
        <p:spPr>
          <a:xfrm>
            <a:off x="50671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6" name="object 1486"/>
          <p:cNvSpPr/>
          <p:nvPr/>
        </p:nvSpPr>
        <p:spPr>
          <a:xfrm>
            <a:off x="50744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7" name="object 1487"/>
          <p:cNvSpPr/>
          <p:nvPr/>
        </p:nvSpPr>
        <p:spPr>
          <a:xfrm>
            <a:off x="50798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8" name="object 1488"/>
          <p:cNvSpPr/>
          <p:nvPr/>
        </p:nvSpPr>
        <p:spPr>
          <a:xfrm>
            <a:off x="508712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89" name="object 1489"/>
          <p:cNvSpPr/>
          <p:nvPr/>
        </p:nvSpPr>
        <p:spPr>
          <a:xfrm>
            <a:off x="50925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0" name="object 1490"/>
          <p:cNvSpPr/>
          <p:nvPr/>
        </p:nvSpPr>
        <p:spPr>
          <a:xfrm>
            <a:off x="509985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1" name="object 1491"/>
          <p:cNvSpPr/>
          <p:nvPr/>
        </p:nvSpPr>
        <p:spPr>
          <a:xfrm>
            <a:off x="51053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2" name="object 1492"/>
          <p:cNvSpPr/>
          <p:nvPr/>
        </p:nvSpPr>
        <p:spPr>
          <a:xfrm>
            <a:off x="511257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3" name="object 1493"/>
          <p:cNvSpPr/>
          <p:nvPr/>
        </p:nvSpPr>
        <p:spPr>
          <a:xfrm>
            <a:off x="51180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4" name="object 1494"/>
          <p:cNvSpPr/>
          <p:nvPr/>
        </p:nvSpPr>
        <p:spPr>
          <a:xfrm>
            <a:off x="51253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5" name="object 1495"/>
          <p:cNvSpPr/>
          <p:nvPr/>
        </p:nvSpPr>
        <p:spPr>
          <a:xfrm>
            <a:off x="51307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6" name="object 1496"/>
          <p:cNvSpPr/>
          <p:nvPr/>
        </p:nvSpPr>
        <p:spPr>
          <a:xfrm>
            <a:off x="51380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7" name="object 1497"/>
          <p:cNvSpPr/>
          <p:nvPr/>
        </p:nvSpPr>
        <p:spPr>
          <a:xfrm>
            <a:off x="51434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8" name="object 1498"/>
          <p:cNvSpPr/>
          <p:nvPr/>
        </p:nvSpPr>
        <p:spPr>
          <a:xfrm>
            <a:off x="515075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499" name="object 1499"/>
          <p:cNvSpPr/>
          <p:nvPr/>
        </p:nvSpPr>
        <p:spPr>
          <a:xfrm>
            <a:off x="51562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0" name="object 1500"/>
          <p:cNvSpPr/>
          <p:nvPr/>
        </p:nvSpPr>
        <p:spPr>
          <a:xfrm>
            <a:off x="51634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1" name="object 1501"/>
          <p:cNvSpPr/>
          <p:nvPr/>
        </p:nvSpPr>
        <p:spPr>
          <a:xfrm>
            <a:off x="51689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2" name="object 1502"/>
          <p:cNvSpPr/>
          <p:nvPr/>
        </p:nvSpPr>
        <p:spPr>
          <a:xfrm>
            <a:off x="51762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3" name="object 1503"/>
          <p:cNvSpPr/>
          <p:nvPr/>
        </p:nvSpPr>
        <p:spPr>
          <a:xfrm>
            <a:off x="518347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4" name="object 1504"/>
          <p:cNvSpPr/>
          <p:nvPr/>
        </p:nvSpPr>
        <p:spPr>
          <a:xfrm>
            <a:off x="51889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5" name="object 1505"/>
          <p:cNvSpPr/>
          <p:nvPr/>
        </p:nvSpPr>
        <p:spPr>
          <a:xfrm>
            <a:off x="519619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6" name="object 1506"/>
          <p:cNvSpPr/>
          <p:nvPr/>
        </p:nvSpPr>
        <p:spPr>
          <a:xfrm>
            <a:off x="52016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7" name="object 1507"/>
          <p:cNvSpPr/>
          <p:nvPr/>
        </p:nvSpPr>
        <p:spPr>
          <a:xfrm>
            <a:off x="5208926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8" name="object 1508"/>
          <p:cNvSpPr/>
          <p:nvPr/>
        </p:nvSpPr>
        <p:spPr>
          <a:xfrm>
            <a:off x="521437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09" name="object 1509"/>
          <p:cNvSpPr/>
          <p:nvPr/>
        </p:nvSpPr>
        <p:spPr>
          <a:xfrm>
            <a:off x="522165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0" name="object 1510"/>
          <p:cNvSpPr/>
          <p:nvPr/>
        </p:nvSpPr>
        <p:spPr>
          <a:xfrm>
            <a:off x="52271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1" name="object 1511"/>
          <p:cNvSpPr/>
          <p:nvPr/>
        </p:nvSpPr>
        <p:spPr>
          <a:xfrm>
            <a:off x="523437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2" name="object 1512"/>
          <p:cNvSpPr/>
          <p:nvPr/>
        </p:nvSpPr>
        <p:spPr>
          <a:xfrm>
            <a:off x="52398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3" name="object 1513"/>
          <p:cNvSpPr/>
          <p:nvPr/>
        </p:nvSpPr>
        <p:spPr>
          <a:xfrm>
            <a:off x="524709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4" name="object 1514"/>
          <p:cNvSpPr/>
          <p:nvPr/>
        </p:nvSpPr>
        <p:spPr>
          <a:xfrm>
            <a:off x="52525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5" name="object 1515"/>
          <p:cNvSpPr/>
          <p:nvPr/>
        </p:nvSpPr>
        <p:spPr>
          <a:xfrm>
            <a:off x="525982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6" name="object 1516"/>
          <p:cNvSpPr/>
          <p:nvPr/>
        </p:nvSpPr>
        <p:spPr>
          <a:xfrm>
            <a:off x="526527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7" name="object 1517"/>
          <p:cNvSpPr/>
          <p:nvPr/>
        </p:nvSpPr>
        <p:spPr>
          <a:xfrm>
            <a:off x="527255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8" name="object 1518"/>
          <p:cNvSpPr/>
          <p:nvPr/>
        </p:nvSpPr>
        <p:spPr>
          <a:xfrm>
            <a:off x="52780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19" name="object 1519"/>
          <p:cNvSpPr/>
          <p:nvPr/>
        </p:nvSpPr>
        <p:spPr>
          <a:xfrm>
            <a:off x="528527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0" name="object 1520"/>
          <p:cNvSpPr/>
          <p:nvPr/>
        </p:nvSpPr>
        <p:spPr>
          <a:xfrm>
            <a:off x="52907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1" name="object 1521"/>
          <p:cNvSpPr/>
          <p:nvPr/>
        </p:nvSpPr>
        <p:spPr>
          <a:xfrm>
            <a:off x="5298001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2" name="object 1522"/>
          <p:cNvSpPr/>
          <p:nvPr/>
        </p:nvSpPr>
        <p:spPr>
          <a:xfrm>
            <a:off x="53034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3" name="object 1523"/>
          <p:cNvSpPr/>
          <p:nvPr/>
        </p:nvSpPr>
        <p:spPr>
          <a:xfrm>
            <a:off x="531072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4" name="object 1524"/>
          <p:cNvSpPr/>
          <p:nvPr/>
        </p:nvSpPr>
        <p:spPr>
          <a:xfrm>
            <a:off x="53161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5" name="object 1525"/>
          <p:cNvSpPr/>
          <p:nvPr/>
        </p:nvSpPr>
        <p:spPr>
          <a:xfrm>
            <a:off x="532345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6" name="object 1526"/>
          <p:cNvSpPr/>
          <p:nvPr/>
        </p:nvSpPr>
        <p:spPr>
          <a:xfrm>
            <a:off x="53289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7" name="object 1527"/>
          <p:cNvSpPr/>
          <p:nvPr/>
        </p:nvSpPr>
        <p:spPr>
          <a:xfrm>
            <a:off x="5336176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8" name="object 1528"/>
          <p:cNvSpPr/>
          <p:nvPr/>
        </p:nvSpPr>
        <p:spPr>
          <a:xfrm>
            <a:off x="53416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29" name="object 1529"/>
          <p:cNvSpPr/>
          <p:nvPr/>
        </p:nvSpPr>
        <p:spPr>
          <a:xfrm>
            <a:off x="5348901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0" name="object 1530"/>
          <p:cNvSpPr/>
          <p:nvPr/>
        </p:nvSpPr>
        <p:spPr>
          <a:xfrm>
            <a:off x="53543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1" name="object 1531"/>
          <p:cNvSpPr/>
          <p:nvPr/>
        </p:nvSpPr>
        <p:spPr>
          <a:xfrm>
            <a:off x="536162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2" name="object 1532"/>
          <p:cNvSpPr/>
          <p:nvPr/>
        </p:nvSpPr>
        <p:spPr>
          <a:xfrm>
            <a:off x="53670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3" name="object 1533"/>
          <p:cNvSpPr/>
          <p:nvPr/>
        </p:nvSpPr>
        <p:spPr>
          <a:xfrm>
            <a:off x="5374351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4" name="object 1534"/>
          <p:cNvSpPr/>
          <p:nvPr/>
        </p:nvSpPr>
        <p:spPr>
          <a:xfrm>
            <a:off x="53798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5" name="object 1535"/>
          <p:cNvSpPr/>
          <p:nvPr/>
        </p:nvSpPr>
        <p:spPr>
          <a:xfrm>
            <a:off x="538707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6" name="object 1536"/>
          <p:cNvSpPr/>
          <p:nvPr/>
        </p:nvSpPr>
        <p:spPr>
          <a:xfrm>
            <a:off x="53925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7" name="object 1537"/>
          <p:cNvSpPr/>
          <p:nvPr/>
        </p:nvSpPr>
        <p:spPr>
          <a:xfrm>
            <a:off x="53998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8" name="object 1538"/>
          <p:cNvSpPr/>
          <p:nvPr/>
        </p:nvSpPr>
        <p:spPr>
          <a:xfrm>
            <a:off x="54052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39" name="object 1539"/>
          <p:cNvSpPr/>
          <p:nvPr/>
        </p:nvSpPr>
        <p:spPr>
          <a:xfrm>
            <a:off x="541252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0" name="object 1540"/>
          <p:cNvSpPr/>
          <p:nvPr/>
        </p:nvSpPr>
        <p:spPr>
          <a:xfrm>
            <a:off x="54179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1" name="object 1541"/>
          <p:cNvSpPr/>
          <p:nvPr/>
        </p:nvSpPr>
        <p:spPr>
          <a:xfrm>
            <a:off x="54252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2" name="object 1542"/>
          <p:cNvSpPr/>
          <p:nvPr/>
        </p:nvSpPr>
        <p:spPr>
          <a:xfrm>
            <a:off x="54307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3" name="object 1543"/>
          <p:cNvSpPr/>
          <p:nvPr/>
        </p:nvSpPr>
        <p:spPr>
          <a:xfrm>
            <a:off x="543797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4" name="object 1544"/>
          <p:cNvSpPr/>
          <p:nvPr/>
        </p:nvSpPr>
        <p:spPr>
          <a:xfrm>
            <a:off x="54434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5" name="object 1545"/>
          <p:cNvSpPr/>
          <p:nvPr/>
        </p:nvSpPr>
        <p:spPr>
          <a:xfrm>
            <a:off x="545070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6" name="object 1546"/>
          <p:cNvSpPr/>
          <p:nvPr/>
        </p:nvSpPr>
        <p:spPr>
          <a:xfrm>
            <a:off x="54561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7" name="object 1547"/>
          <p:cNvSpPr/>
          <p:nvPr/>
        </p:nvSpPr>
        <p:spPr>
          <a:xfrm>
            <a:off x="54634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8" name="object 1548"/>
          <p:cNvSpPr/>
          <p:nvPr/>
        </p:nvSpPr>
        <p:spPr>
          <a:xfrm>
            <a:off x="54688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49" name="object 1549"/>
          <p:cNvSpPr/>
          <p:nvPr/>
        </p:nvSpPr>
        <p:spPr>
          <a:xfrm>
            <a:off x="547615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0" name="object 1550"/>
          <p:cNvSpPr/>
          <p:nvPr/>
        </p:nvSpPr>
        <p:spPr>
          <a:xfrm>
            <a:off x="548160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1" name="object 1551"/>
          <p:cNvSpPr/>
          <p:nvPr/>
        </p:nvSpPr>
        <p:spPr>
          <a:xfrm>
            <a:off x="548887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2" name="object 1552"/>
          <p:cNvSpPr/>
          <p:nvPr/>
        </p:nvSpPr>
        <p:spPr>
          <a:xfrm>
            <a:off x="54943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3" name="object 1553"/>
          <p:cNvSpPr/>
          <p:nvPr/>
        </p:nvSpPr>
        <p:spPr>
          <a:xfrm>
            <a:off x="55016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4" name="object 1554"/>
          <p:cNvSpPr/>
          <p:nvPr/>
        </p:nvSpPr>
        <p:spPr>
          <a:xfrm>
            <a:off x="55070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5" name="object 1555"/>
          <p:cNvSpPr/>
          <p:nvPr/>
        </p:nvSpPr>
        <p:spPr>
          <a:xfrm>
            <a:off x="551432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6" name="object 1556"/>
          <p:cNvSpPr/>
          <p:nvPr/>
        </p:nvSpPr>
        <p:spPr>
          <a:xfrm>
            <a:off x="55197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7" name="object 1557"/>
          <p:cNvSpPr/>
          <p:nvPr/>
        </p:nvSpPr>
        <p:spPr>
          <a:xfrm>
            <a:off x="55270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8" name="object 1558"/>
          <p:cNvSpPr/>
          <p:nvPr/>
        </p:nvSpPr>
        <p:spPr>
          <a:xfrm>
            <a:off x="55325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59" name="object 1559"/>
          <p:cNvSpPr/>
          <p:nvPr/>
        </p:nvSpPr>
        <p:spPr>
          <a:xfrm>
            <a:off x="55397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0" name="object 1560"/>
          <p:cNvSpPr/>
          <p:nvPr/>
        </p:nvSpPr>
        <p:spPr>
          <a:xfrm>
            <a:off x="55452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1" name="object 1561"/>
          <p:cNvSpPr/>
          <p:nvPr/>
        </p:nvSpPr>
        <p:spPr>
          <a:xfrm>
            <a:off x="55525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2" name="object 1562"/>
          <p:cNvSpPr/>
          <p:nvPr/>
        </p:nvSpPr>
        <p:spPr>
          <a:xfrm>
            <a:off x="55579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3" name="object 1563"/>
          <p:cNvSpPr/>
          <p:nvPr/>
        </p:nvSpPr>
        <p:spPr>
          <a:xfrm>
            <a:off x="55652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4" name="object 1564"/>
          <p:cNvSpPr/>
          <p:nvPr/>
        </p:nvSpPr>
        <p:spPr>
          <a:xfrm>
            <a:off x="55706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5" name="object 1565"/>
          <p:cNvSpPr/>
          <p:nvPr/>
        </p:nvSpPr>
        <p:spPr>
          <a:xfrm>
            <a:off x="55779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6" name="object 1566"/>
          <p:cNvSpPr/>
          <p:nvPr/>
        </p:nvSpPr>
        <p:spPr>
          <a:xfrm>
            <a:off x="55834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7" name="object 1567"/>
          <p:cNvSpPr/>
          <p:nvPr/>
        </p:nvSpPr>
        <p:spPr>
          <a:xfrm>
            <a:off x="55906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8" name="object 1568"/>
          <p:cNvSpPr/>
          <p:nvPr/>
        </p:nvSpPr>
        <p:spPr>
          <a:xfrm>
            <a:off x="559613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69" name="object 1569"/>
          <p:cNvSpPr/>
          <p:nvPr/>
        </p:nvSpPr>
        <p:spPr>
          <a:xfrm>
            <a:off x="56034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0" name="object 1570"/>
          <p:cNvSpPr/>
          <p:nvPr/>
        </p:nvSpPr>
        <p:spPr>
          <a:xfrm>
            <a:off x="561067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1" name="object 1571"/>
          <p:cNvSpPr/>
          <p:nvPr/>
        </p:nvSpPr>
        <p:spPr>
          <a:xfrm>
            <a:off x="56161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2" name="object 1572"/>
          <p:cNvSpPr/>
          <p:nvPr/>
        </p:nvSpPr>
        <p:spPr>
          <a:xfrm>
            <a:off x="562340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3" name="object 1573"/>
          <p:cNvSpPr/>
          <p:nvPr/>
        </p:nvSpPr>
        <p:spPr>
          <a:xfrm>
            <a:off x="56288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4" name="object 1574"/>
          <p:cNvSpPr/>
          <p:nvPr/>
        </p:nvSpPr>
        <p:spPr>
          <a:xfrm>
            <a:off x="5636125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5" name="object 1575"/>
          <p:cNvSpPr/>
          <p:nvPr/>
        </p:nvSpPr>
        <p:spPr>
          <a:xfrm>
            <a:off x="56415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6" name="object 1576"/>
          <p:cNvSpPr/>
          <p:nvPr/>
        </p:nvSpPr>
        <p:spPr>
          <a:xfrm>
            <a:off x="564885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7" name="object 1577"/>
          <p:cNvSpPr/>
          <p:nvPr/>
        </p:nvSpPr>
        <p:spPr>
          <a:xfrm>
            <a:off x="56543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8" name="object 1578"/>
          <p:cNvSpPr/>
          <p:nvPr/>
        </p:nvSpPr>
        <p:spPr>
          <a:xfrm>
            <a:off x="5661576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79" name="object 1579"/>
          <p:cNvSpPr/>
          <p:nvPr/>
        </p:nvSpPr>
        <p:spPr>
          <a:xfrm>
            <a:off x="56670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0" name="object 1580"/>
          <p:cNvSpPr/>
          <p:nvPr/>
        </p:nvSpPr>
        <p:spPr>
          <a:xfrm>
            <a:off x="5674300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1" name="object 1581"/>
          <p:cNvSpPr/>
          <p:nvPr/>
        </p:nvSpPr>
        <p:spPr>
          <a:xfrm>
            <a:off x="56797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2" name="object 1582"/>
          <p:cNvSpPr/>
          <p:nvPr/>
        </p:nvSpPr>
        <p:spPr>
          <a:xfrm>
            <a:off x="568702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3" name="object 1583"/>
          <p:cNvSpPr/>
          <p:nvPr/>
        </p:nvSpPr>
        <p:spPr>
          <a:xfrm>
            <a:off x="56924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4" name="object 1584"/>
          <p:cNvSpPr/>
          <p:nvPr/>
        </p:nvSpPr>
        <p:spPr>
          <a:xfrm>
            <a:off x="5699751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5" name="object 1585"/>
          <p:cNvSpPr/>
          <p:nvPr/>
        </p:nvSpPr>
        <p:spPr>
          <a:xfrm>
            <a:off x="57052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6" name="object 1586"/>
          <p:cNvSpPr/>
          <p:nvPr/>
        </p:nvSpPr>
        <p:spPr>
          <a:xfrm>
            <a:off x="5712476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7" name="object 1587"/>
          <p:cNvSpPr/>
          <p:nvPr/>
        </p:nvSpPr>
        <p:spPr>
          <a:xfrm>
            <a:off x="57179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8" name="object 1588"/>
          <p:cNvSpPr/>
          <p:nvPr/>
        </p:nvSpPr>
        <p:spPr>
          <a:xfrm>
            <a:off x="572520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89" name="object 1589"/>
          <p:cNvSpPr/>
          <p:nvPr/>
        </p:nvSpPr>
        <p:spPr>
          <a:xfrm>
            <a:off x="57306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0" name="object 1590"/>
          <p:cNvSpPr/>
          <p:nvPr/>
        </p:nvSpPr>
        <p:spPr>
          <a:xfrm>
            <a:off x="5737926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1" name="object 1591"/>
          <p:cNvSpPr/>
          <p:nvPr/>
        </p:nvSpPr>
        <p:spPr>
          <a:xfrm>
            <a:off x="57433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2" name="object 1592"/>
          <p:cNvSpPr/>
          <p:nvPr/>
        </p:nvSpPr>
        <p:spPr>
          <a:xfrm>
            <a:off x="575065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3" name="object 1593"/>
          <p:cNvSpPr/>
          <p:nvPr/>
        </p:nvSpPr>
        <p:spPr>
          <a:xfrm>
            <a:off x="57561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4" name="object 1594"/>
          <p:cNvSpPr/>
          <p:nvPr/>
        </p:nvSpPr>
        <p:spPr>
          <a:xfrm>
            <a:off x="5763376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5" name="object 1595"/>
          <p:cNvSpPr/>
          <p:nvPr/>
        </p:nvSpPr>
        <p:spPr>
          <a:xfrm>
            <a:off x="57688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6" name="object 1596"/>
          <p:cNvSpPr/>
          <p:nvPr/>
        </p:nvSpPr>
        <p:spPr>
          <a:xfrm>
            <a:off x="577610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7" name="object 1597"/>
          <p:cNvSpPr/>
          <p:nvPr/>
        </p:nvSpPr>
        <p:spPr>
          <a:xfrm>
            <a:off x="57815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8" name="object 1598"/>
          <p:cNvSpPr/>
          <p:nvPr/>
        </p:nvSpPr>
        <p:spPr>
          <a:xfrm>
            <a:off x="578882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599" name="object 1599"/>
          <p:cNvSpPr/>
          <p:nvPr/>
        </p:nvSpPr>
        <p:spPr>
          <a:xfrm>
            <a:off x="57942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0" name="object 1600"/>
          <p:cNvSpPr/>
          <p:nvPr/>
        </p:nvSpPr>
        <p:spPr>
          <a:xfrm>
            <a:off x="580155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1" name="object 1601"/>
          <p:cNvSpPr/>
          <p:nvPr/>
        </p:nvSpPr>
        <p:spPr>
          <a:xfrm>
            <a:off x="58070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2" name="object 1602"/>
          <p:cNvSpPr/>
          <p:nvPr/>
        </p:nvSpPr>
        <p:spPr>
          <a:xfrm>
            <a:off x="581427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3" name="object 1603"/>
          <p:cNvSpPr/>
          <p:nvPr/>
        </p:nvSpPr>
        <p:spPr>
          <a:xfrm>
            <a:off x="58197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4" name="object 1604"/>
          <p:cNvSpPr/>
          <p:nvPr/>
        </p:nvSpPr>
        <p:spPr>
          <a:xfrm>
            <a:off x="58270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5" name="object 1605"/>
          <p:cNvSpPr/>
          <p:nvPr/>
        </p:nvSpPr>
        <p:spPr>
          <a:xfrm>
            <a:off x="58324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6" name="object 1606"/>
          <p:cNvSpPr/>
          <p:nvPr/>
        </p:nvSpPr>
        <p:spPr>
          <a:xfrm>
            <a:off x="583972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7" name="object 1607"/>
          <p:cNvSpPr/>
          <p:nvPr/>
        </p:nvSpPr>
        <p:spPr>
          <a:xfrm>
            <a:off x="58451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8" name="object 1608"/>
          <p:cNvSpPr/>
          <p:nvPr/>
        </p:nvSpPr>
        <p:spPr>
          <a:xfrm>
            <a:off x="585245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09" name="object 1609"/>
          <p:cNvSpPr/>
          <p:nvPr/>
        </p:nvSpPr>
        <p:spPr>
          <a:xfrm>
            <a:off x="585790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0" name="object 1610"/>
          <p:cNvSpPr/>
          <p:nvPr/>
        </p:nvSpPr>
        <p:spPr>
          <a:xfrm>
            <a:off x="586517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1" name="object 1611"/>
          <p:cNvSpPr/>
          <p:nvPr/>
        </p:nvSpPr>
        <p:spPr>
          <a:xfrm>
            <a:off x="58706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2" name="object 1612"/>
          <p:cNvSpPr/>
          <p:nvPr/>
        </p:nvSpPr>
        <p:spPr>
          <a:xfrm>
            <a:off x="587790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3" name="object 1613"/>
          <p:cNvSpPr/>
          <p:nvPr/>
        </p:nvSpPr>
        <p:spPr>
          <a:xfrm>
            <a:off x="58833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4" name="object 1614"/>
          <p:cNvSpPr/>
          <p:nvPr/>
        </p:nvSpPr>
        <p:spPr>
          <a:xfrm>
            <a:off x="58906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5" name="object 1615"/>
          <p:cNvSpPr/>
          <p:nvPr/>
        </p:nvSpPr>
        <p:spPr>
          <a:xfrm>
            <a:off x="58960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6" name="object 1616"/>
          <p:cNvSpPr/>
          <p:nvPr/>
        </p:nvSpPr>
        <p:spPr>
          <a:xfrm>
            <a:off x="59033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7" name="object 1617"/>
          <p:cNvSpPr/>
          <p:nvPr/>
        </p:nvSpPr>
        <p:spPr>
          <a:xfrm>
            <a:off x="59088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8" name="object 1618"/>
          <p:cNvSpPr/>
          <p:nvPr/>
        </p:nvSpPr>
        <p:spPr>
          <a:xfrm>
            <a:off x="59160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19" name="object 1619"/>
          <p:cNvSpPr/>
          <p:nvPr/>
        </p:nvSpPr>
        <p:spPr>
          <a:xfrm>
            <a:off x="59215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0" name="object 1620"/>
          <p:cNvSpPr/>
          <p:nvPr/>
        </p:nvSpPr>
        <p:spPr>
          <a:xfrm>
            <a:off x="59288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1" name="object 1621"/>
          <p:cNvSpPr/>
          <p:nvPr/>
        </p:nvSpPr>
        <p:spPr>
          <a:xfrm>
            <a:off x="59342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2" name="object 1622"/>
          <p:cNvSpPr/>
          <p:nvPr/>
        </p:nvSpPr>
        <p:spPr>
          <a:xfrm>
            <a:off x="594152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3" name="object 1623"/>
          <p:cNvSpPr/>
          <p:nvPr/>
        </p:nvSpPr>
        <p:spPr>
          <a:xfrm>
            <a:off x="594698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4" name="object 1624"/>
          <p:cNvSpPr/>
          <p:nvPr/>
        </p:nvSpPr>
        <p:spPr>
          <a:xfrm>
            <a:off x="59542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5" name="object 1625"/>
          <p:cNvSpPr/>
          <p:nvPr/>
        </p:nvSpPr>
        <p:spPr>
          <a:xfrm>
            <a:off x="595970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6" name="object 1626"/>
          <p:cNvSpPr/>
          <p:nvPr/>
        </p:nvSpPr>
        <p:spPr>
          <a:xfrm>
            <a:off x="59669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7" name="object 1627"/>
          <p:cNvSpPr/>
          <p:nvPr/>
        </p:nvSpPr>
        <p:spPr>
          <a:xfrm>
            <a:off x="597243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8" name="object 1628"/>
          <p:cNvSpPr/>
          <p:nvPr/>
        </p:nvSpPr>
        <p:spPr>
          <a:xfrm>
            <a:off x="59797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29" name="object 1629"/>
          <p:cNvSpPr/>
          <p:nvPr/>
        </p:nvSpPr>
        <p:spPr>
          <a:xfrm>
            <a:off x="598515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0" name="object 1630"/>
          <p:cNvSpPr/>
          <p:nvPr/>
        </p:nvSpPr>
        <p:spPr>
          <a:xfrm>
            <a:off x="59924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1" name="object 1631"/>
          <p:cNvSpPr/>
          <p:nvPr/>
        </p:nvSpPr>
        <p:spPr>
          <a:xfrm>
            <a:off x="599788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2" name="object 1632"/>
          <p:cNvSpPr/>
          <p:nvPr/>
        </p:nvSpPr>
        <p:spPr>
          <a:xfrm>
            <a:off x="60051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3" name="object 1633"/>
          <p:cNvSpPr/>
          <p:nvPr/>
        </p:nvSpPr>
        <p:spPr>
          <a:xfrm>
            <a:off x="601060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4" name="object 1634"/>
          <p:cNvSpPr/>
          <p:nvPr/>
        </p:nvSpPr>
        <p:spPr>
          <a:xfrm>
            <a:off x="60178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5" name="object 1635"/>
          <p:cNvSpPr/>
          <p:nvPr/>
        </p:nvSpPr>
        <p:spPr>
          <a:xfrm>
            <a:off x="602333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6" name="object 1636"/>
          <p:cNvSpPr/>
          <p:nvPr/>
        </p:nvSpPr>
        <p:spPr>
          <a:xfrm>
            <a:off x="60306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7" name="object 1637"/>
          <p:cNvSpPr/>
          <p:nvPr/>
        </p:nvSpPr>
        <p:spPr>
          <a:xfrm>
            <a:off x="603605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8" name="object 1638"/>
          <p:cNvSpPr/>
          <p:nvPr/>
        </p:nvSpPr>
        <p:spPr>
          <a:xfrm>
            <a:off x="60433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39" name="object 1639"/>
          <p:cNvSpPr/>
          <p:nvPr/>
        </p:nvSpPr>
        <p:spPr>
          <a:xfrm>
            <a:off x="605060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0" name="object 1640"/>
          <p:cNvSpPr/>
          <p:nvPr/>
        </p:nvSpPr>
        <p:spPr>
          <a:xfrm>
            <a:off x="60560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1" name="object 1641"/>
          <p:cNvSpPr/>
          <p:nvPr/>
        </p:nvSpPr>
        <p:spPr>
          <a:xfrm>
            <a:off x="606332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2" name="object 1642"/>
          <p:cNvSpPr/>
          <p:nvPr/>
        </p:nvSpPr>
        <p:spPr>
          <a:xfrm>
            <a:off x="60687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3" name="object 1643"/>
          <p:cNvSpPr/>
          <p:nvPr/>
        </p:nvSpPr>
        <p:spPr>
          <a:xfrm>
            <a:off x="6076051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4" name="object 1644"/>
          <p:cNvSpPr/>
          <p:nvPr/>
        </p:nvSpPr>
        <p:spPr>
          <a:xfrm>
            <a:off x="60815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5" name="object 1645"/>
          <p:cNvSpPr/>
          <p:nvPr/>
        </p:nvSpPr>
        <p:spPr>
          <a:xfrm>
            <a:off x="608877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6" name="object 1646"/>
          <p:cNvSpPr/>
          <p:nvPr/>
        </p:nvSpPr>
        <p:spPr>
          <a:xfrm>
            <a:off x="60942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7" name="object 1647"/>
          <p:cNvSpPr/>
          <p:nvPr/>
        </p:nvSpPr>
        <p:spPr>
          <a:xfrm>
            <a:off x="610150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8" name="object 1648"/>
          <p:cNvSpPr/>
          <p:nvPr/>
        </p:nvSpPr>
        <p:spPr>
          <a:xfrm>
            <a:off x="61069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49" name="object 1649"/>
          <p:cNvSpPr/>
          <p:nvPr/>
        </p:nvSpPr>
        <p:spPr>
          <a:xfrm>
            <a:off x="611422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0" name="object 1650"/>
          <p:cNvSpPr/>
          <p:nvPr/>
        </p:nvSpPr>
        <p:spPr>
          <a:xfrm>
            <a:off x="61196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1" name="object 1651"/>
          <p:cNvSpPr/>
          <p:nvPr/>
        </p:nvSpPr>
        <p:spPr>
          <a:xfrm>
            <a:off x="612695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2" name="object 1652"/>
          <p:cNvSpPr/>
          <p:nvPr/>
        </p:nvSpPr>
        <p:spPr>
          <a:xfrm>
            <a:off x="61324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3" name="object 1653"/>
          <p:cNvSpPr/>
          <p:nvPr/>
        </p:nvSpPr>
        <p:spPr>
          <a:xfrm>
            <a:off x="613967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4" name="object 1654"/>
          <p:cNvSpPr/>
          <p:nvPr/>
        </p:nvSpPr>
        <p:spPr>
          <a:xfrm>
            <a:off x="61451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5" name="object 1655"/>
          <p:cNvSpPr/>
          <p:nvPr/>
        </p:nvSpPr>
        <p:spPr>
          <a:xfrm>
            <a:off x="615240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6" name="object 1656"/>
          <p:cNvSpPr/>
          <p:nvPr/>
        </p:nvSpPr>
        <p:spPr>
          <a:xfrm>
            <a:off x="61578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7" name="object 1657"/>
          <p:cNvSpPr/>
          <p:nvPr/>
        </p:nvSpPr>
        <p:spPr>
          <a:xfrm>
            <a:off x="616512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8" name="object 1658"/>
          <p:cNvSpPr/>
          <p:nvPr/>
        </p:nvSpPr>
        <p:spPr>
          <a:xfrm>
            <a:off x="61705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59" name="object 1659"/>
          <p:cNvSpPr/>
          <p:nvPr/>
        </p:nvSpPr>
        <p:spPr>
          <a:xfrm>
            <a:off x="617785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0" name="object 1660"/>
          <p:cNvSpPr/>
          <p:nvPr/>
        </p:nvSpPr>
        <p:spPr>
          <a:xfrm>
            <a:off x="618330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1" name="object 1661"/>
          <p:cNvSpPr/>
          <p:nvPr/>
        </p:nvSpPr>
        <p:spPr>
          <a:xfrm>
            <a:off x="619057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2" name="object 1662"/>
          <p:cNvSpPr/>
          <p:nvPr/>
        </p:nvSpPr>
        <p:spPr>
          <a:xfrm>
            <a:off x="61960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3" name="object 1663"/>
          <p:cNvSpPr/>
          <p:nvPr/>
        </p:nvSpPr>
        <p:spPr>
          <a:xfrm>
            <a:off x="620330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4" name="object 1664"/>
          <p:cNvSpPr/>
          <p:nvPr/>
        </p:nvSpPr>
        <p:spPr>
          <a:xfrm>
            <a:off x="62087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5" name="object 1665"/>
          <p:cNvSpPr/>
          <p:nvPr/>
        </p:nvSpPr>
        <p:spPr>
          <a:xfrm>
            <a:off x="6216027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6" name="object 1666"/>
          <p:cNvSpPr/>
          <p:nvPr/>
        </p:nvSpPr>
        <p:spPr>
          <a:xfrm>
            <a:off x="622148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7" name="object 1667"/>
          <p:cNvSpPr/>
          <p:nvPr/>
        </p:nvSpPr>
        <p:spPr>
          <a:xfrm>
            <a:off x="622875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8" name="object 1668"/>
          <p:cNvSpPr/>
          <p:nvPr/>
        </p:nvSpPr>
        <p:spPr>
          <a:xfrm>
            <a:off x="62342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69" name="object 1669"/>
          <p:cNvSpPr/>
          <p:nvPr/>
        </p:nvSpPr>
        <p:spPr>
          <a:xfrm>
            <a:off x="624147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0" name="object 1670"/>
          <p:cNvSpPr/>
          <p:nvPr/>
        </p:nvSpPr>
        <p:spPr>
          <a:xfrm>
            <a:off x="62469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1" name="object 1671"/>
          <p:cNvSpPr/>
          <p:nvPr/>
        </p:nvSpPr>
        <p:spPr>
          <a:xfrm>
            <a:off x="62542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2" name="object 1672"/>
          <p:cNvSpPr/>
          <p:nvPr/>
        </p:nvSpPr>
        <p:spPr>
          <a:xfrm>
            <a:off x="625965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3" name="object 1673"/>
          <p:cNvSpPr/>
          <p:nvPr/>
        </p:nvSpPr>
        <p:spPr>
          <a:xfrm>
            <a:off x="62669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4" name="object 1674"/>
          <p:cNvSpPr/>
          <p:nvPr/>
        </p:nvSpPr>
        <p:spPr>
          <a:xfrm>
            <a:off x="627238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5" name="object 1675"/>
          <p:cNvSpPr/>
          <p:nvPr/>
        </p:nvSpPr>
        <p:spPr>
          <a:xfrm>
            <a:off x="627965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6" name="object 1676"/>
          <p:cNvSpPr/>
          <p:nvPr/>
        </p:nvSpPr>
        <p:spPr>
          <a:xfrm>
            <a:off x="628510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7" name="object 1677"/>
          <p:cNvSpPr/>
          <p:nvPr/>
        </p:nvSpPr>
        <p:spPr>
          <a:xfrm>
            <a:off x="629237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8" name="object 1678"/>
          <p:cNvSpPr/>
          <p:nvPr/>
        </p:nvSpPr>
        <p:spPr>
          <a:xfrm>
            <a:off x="629783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79" name="object 1679"/>
          <p:cNvSpPr/>
          <p:nvPr/>
        </p:nvSpPr>
        <p:spPr>
          <a:xfrm>
            <a:off x="630510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0" name="object 1680"/>
          <p:cNvSpPr/>
          <p:nvPr/>
        </p:nvSpPr>
        <p:spPr>
          <a:xfrm>
            <a:off x="631055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1" name="object 1681"/>
          <p:cNvSpPr/>
          <p:nvPr/>
        </p:nvSpPr>
        <p:spPr>
          <a:xfrm>
            <a:off x="631782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2" name="object 1682"/>
          <p:cNvSpPr/>
          <p:nvPr/>
        </p:nvSpPr>
        <p:spPr>
          <a:xfrm>
            <a:off x="632328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3" name="object 1683"/>
          <p:cNvSpPr/>
          <p:nvPr/>
        </p:nvSpPr>
        <p:spPr>
          <a:xfrm>
            <a:off x="633055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4" name="object 1684"/>
          <p:cNvSpPr/>
          <p:nvPr/>
        </p:nvSpPr>
        <p:spPr>
          <a:xfrm>
            <a:off x="633600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5" name="object 1685"/>
          <p:cNvSpPr/>
          <p:nvPr/>
        </p:nvSpPr>
        <p:spPr>
          <a:xfrm>
            <a:off x="634327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6" name="object 1686"/>
          <p:cNvSpPr/>
          <p:nvPr/>
        </p:nvSpPr>
        <p:spPr>
          <a:xfrm>
            <a:off x="634873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7" name="object 1687"/>
          <p:cNvSpPr/>
          <p:nvPr/>
        </p:nvSpPr>
        <p:spPr>
          <a:xfrm>
            <a:off x="63560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8" name="object 1688"/>
          <p:cNvSpPr/>
          <p:nvPr/>
        </p:nvSpPr>
        <p:spPr>
          <a:xfrm>
            <a:off x="636145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89" name="object 1689"/>
          <p:cNvSpPr/>
          <p:nvPr/>
        </p:nvSpPr>
        <p:spPr>
          <a:xfrm>
            <a:off x="63687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0" name="object 1690"/>
          <p:cNvSpPr/>
          <p:nvPr/>
        </p:nvSpPr>
        <p:spPr>
          <a:xfrm>
            <a:off x="637418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1" name="object 1691"/>
          <p:cNvSpPr/>
          <p:nvPr/>
        </p:nvSpPr>
        <p:spPr>
          <a:xfrm>
            <a:off x="63814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2" name="object 1692"/>
          <p:cNvSpPr/>
          <p:nvPr/>
        </p:nvSpPr>
        <p:spPr>
          <a:xfrm>
            <a:off x="638690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3" name="object 1693"/>
          <p:cNvSpPr/>
          <p:nvPr/>
        </p:nvSpPr>
        <p:spPr>
          <a:xfrm>
            <a:off x="63941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4" name="object 1694"/>
          <p:cNvSpPr/>
          <p:nvPr/>
        </p:nvSpPr>
        <p:spPr>
          <a:xfrm>
            <a:off x="6399633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5" name="object 1695"/>
          <p:cNvSpPr/>
          <p:nvPr/>
        </p:nvSpPr>
        <p:spPr>
          <a:xfrm>
            <a:off x="640690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6" name="object 1696"/>
          <p:cNvSpPr/>
          <p:nvPr/>
        </p:nvSpPr>
        <p:spPr>
          <a:xfrm>
            <a:off x="641235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7" name="object 1697"/>
          <p:cNvSpPr/>
          <p:nvPr/>
        </p:nvSpPr>
        <p:spPr>
          <a:xfrm>
            <a:off x="64196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8" name="object 1698"/>
          <p:cNvSpPr/>
          <p:nvPr/>
        </p:nvSpPr>
        <p:spPr>
          <a:xfrm>
            <a:off x="642508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699" name="object 1699"/>
          <p:cNvSpPr/>
          <p:nvPr/>
        </p:nvSpPr>
        <p:spPr>
          <a:xfrm>
            <a:off x="6432355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0" name="object 1700"/>
          <p:cNvSpPr/>
          <p:nvPr/>
        </p:nvSpPr>
        <p:spPr>
          <a:xfrm>
            <a:off x="6437809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1" name="object 1701"/>
          <p:cNvSpPr/>
          <p:nvPr/>
        </p:nvSpPr>
        <p:spPr>
          <a:xfrm>
            <a:off x="64450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2" name="object 1702"/>
          <p:cNvSpPr/>
          <p:nvPr/>
        </p:nvSpPr>
        <p:spPr>
          <a:xfrm>
            <a:off x="6450534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3" name="object 1703"/>
          <p:cNvSpPr/>
          <p:nvPr/>
        </p:nvSpPr>
        <p:spPr>
          <a:xfrm>
            <a:off x="64578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4" name="object 1704"/>
          <p:cNvSpPr/>
          <p:nvPr/>
        </p:nvSpPr>
        <p:spPr>
          <a:xfrm>
            <a:off x="6463258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5" name="object 1705"/>
          <p:cNvSpPr/>
          <p:nvPr/>
        </p:nvSpPr>
        <p:spPr>
          <a:xfrm>
            <a:off x="6470531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6" name="object 1706"/>
          <p:cNvSpPr/>
          <p:nvPr/>
        </p:nvSpPr>
        <p:spPr>
          <a:xfrm>
            <a:off x="647780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7" name="object 1707"/>
          <p:cNvSpPr/>
          <p:nvPr/>
        </p:nvSpPr>
        <p:spPr>
          <a:xfrm>
            <a:off x="6483257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8" name="object 1708"/>
          <p:cNvSpPr/>
          <p:nvPr/>
        </p:nvSpPr>
        <p:spPr>
          <a:xfrm>
            <a:off x="649052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09" name="object 1709"/>
          <p:cNvSpPr/>
          <p:nvPr/>
        </p:nvSpPr>
        <p:spPr>
          <a:xfrm>
            <a:off x="649598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0" name="object 1710"/>
          <p:cNvSpPr/>
          <p:nvPr/>
        </p:nvSpPr>
        <p:spPr>
          <a:xfrm>
            <a:off x="6503252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1" name="object 1711"/>
          <p:cNvSpPr/>
          <p:nvPr/>
        </p:nvSpPr>
        <p:spPr>
          <a:xfrm>
            <a:off x="65087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2" name="object 1712"/>
          <p:cNvSpPr/>
          <p:nvPr/>
        </p:nvSpPr>
        <p:spPr>
          <a:xfrm>
            <a:off x="6515979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3" name="object 1713"/>
          <p:cNvSpPr/>
          <p:nvPr/>
        </p:nvSpPr>
        <p:spPr>
          <a:xfrm>
            <a:off x="6521430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4" name="object 1714"/>
          <p:cNvSpPr/>
          <p:nvPr/>
        </p:nvSpPr>
        <p:spPr>
          <a:xfrm>
            <a:off x="6528703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5" name="object 1715"/>
          <p:cNvSpPr/>
          <p:nvPr/>
        </p:nvSpPr>
        <p:spPr>
          <a:xfrm>
            <a:off x="653415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6" name="object 1716"/>
          <p:cNvSpPr/>
          <p:nvPr/>
        </p:nvSpPr>
        <p:spPr>
          <a:xfrm>
            <a:off x="654142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7" name="object 1717"/>
          <p:cNvSpPr/>
          <p:nvPr/>
        </p:nvSpPr>
        <p:spPr>
          <a:xfrm>
            <a:off x="654688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8" name="object 1718"/>
          <p:cNvSpPr/>
          <p:nvPr/>
        </p:nvSpPr>
        <p:spPr>
          <a:xfrm>
            <a:off x="655415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19" name="object 1719"/>
          <p:cNvSpPr/>
          <p:nvPr/>
        </p:nvSpPr>
        <p:spPr>
          <a:xfrm>
            <a:off x="6559606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0" name="object 1720"/>
          <p:cNvSpPr/>
          <p:nvPr/>
        </p:nvSpPr>
        <p:spPr>
          <a:xfrm>
            <a:off x="656687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1" name="object 1721"/>
          <p:cNvSpPr/>
          <p:nvPr/>
        </p:nvSpPr>
        <p:spPr>
          <a:xfrm>
            <a:off x="6572332" y="3698089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2" name="object 1722"/>
          <p:cNvSpPr/>
          <p:nvPr/>
        </p:nvSpPr>
        <p:spPr>
          <a:xfrm>
            <a:off x="6579604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3" name="object 1723"/>
          <p:cNvSpPr/>
          <p:nvPr/>
        </p:nvSpPr>
        <p:spPr>
          <a:xfrm>
            <a:off x="6585058" y="3698089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4" name="object 1724"/>
          <p:cNvSpPr/>
          <p:nvPr/>
        </p:nvSpPr>
        <p:spPr>
          <a:xfrm>
            <a:off x="44872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5" name="object 1725"/>
          <p:cNvSpPr/>
          <p:nvPr/>
        </p:nvSpPr>
        <p:spPr>
          <a:xfrm>
            <a:off x="449450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6" name="object 1726"/>
          <p:cNvSpPr/>
          <p:nvPr/>
        </p:nvSpPr>
        <p:spPr>
          <a:xfrm>
            <a:off x="449995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7" name="object 1727"/>
          <p:cNvSpPr/>
          <p:nvPr/>
        </p:nvSpPr>
        <p:spPr>
          <a:xfrm>
            <a:off x="450722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8" name="object 1728"/>
          <p:cNvSpPr/>
          <p:nvPr/>
        </p:nvSpPr>
        <p:spPr>
          <a:xfrm>
            <a:off x="451267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29" name="object 1729"/>
          <p:cNvSpPr/>
          <p:nvPr/>
        </p:nvSpPr>
        <p:spPr>
          <a:xfrm>
            <a:off x="451994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0" name="object 1730"/>
          <p:cNvSpPr/>
          <p:nvPr/>
        </p:nvSpPr>
        <p:spPr>
          <a:xfrm>
            <a:off x="45254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1" name="object 1731"/>
          <p:cNvSpPr/>
          <p:nvPr/>
        </p:nvSpPr>
        <p:spPr>
          <a:xfrm>
            <a:off x="453267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2" name="object 1732"/>
          <p:cNvSpPr/>
          <p:nvPr/>
        </p:nvSpPr>
        <p:spPr>
          <a:xfrm>
            <a:off x="45381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3" name="object 1733"/>
          <p:cNvSpPr/>
          <p:nvPr/>
        </p:nvSpPr>
        <p:spPr>
          <a:xfrm>
            <a:off x="454539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4" name="object 1734"/>
          <p:cNvSpPr/>
          <p:nvPr/>
        </p:nvSpPr>
        <p:spPr>
          <a:xfrm>
            <a:off x="45508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5" name="object 1735"/>
          <p:cNvSpPr/>
          <p:nvPr/>
        </p:nvSpPr>
        <p:spPr>
          <a:xfrm>
            <a:off x="455812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6" name="object 1736"/>
          <p:cNvSpPr/>
          <p:nvPr/>
        </p:nvSpPr>
        <p:spPr>
          <a:xfrm>
            <a:off x="45635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7" name="object 1737"/>
          <p:cNvSpPr/>
          <p:nvPr/>
        </p:nvSpPr>
        <p:spPr>
          <a:xfrm>
            <a:off x="457084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8" name="object 1738"/>
          <p:cNvSpPr/>
          <p:nvPr/>
        </p:nvSpPr>
        <p:spPr>
          <a:xfrm>
            <a:off x="45763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39" name="object 1739"/>
          <p:cNvSpPr/>
          <p:nvPr/>
        </p:nvSpPr>
        <p:spPr>
          <a:xfrm>
            <a:off x="458357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0" name="object 1740"/>
          <p:cNvSpPr/>
          <p:nvPr/>
        </p:nvSpPr>
        <p:spPr>
          <a:xfrm>
            <a:off x="45890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1" name="object 1741"/>
          <p:cNvSpPr/>
          <p:nvPr/>
        </p:nvSpPr>
        <p:spPr>
          <a:xfrm>
            <a:off x="45963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2" name="object 1742"/>
          <p:cNvSpPr/>
          <p:nvPr/>
        </p:nvSpPr>
        <p:spPr>
          <a:xfrm>
            <a:off x="46017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3" name="object 1743"/>
          <p:cNvSpPr/>
          <p:nvPr/>
        </p:nvSpPr>
        <p:spPr>
          <a:xfrm>
            <a:off x="460902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4" name="object 1744"/>
          <p:cNvSpPr/>
          <p:nvPr/>
        </p:nvSpPr>
        <p:spPr>
          <a:xfrm>
            <a:off x="46144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5" name="object 1745"/>
          <p:cNvSpPr/>
          <p:nvPr/>
        </p:nvSpPr>
        <p:spPr>
          <a:xfrm>
            <a:off x="462174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6" name="object 1746"/>
          <p:cNvSpPr/>
          <p:nvPr/>
        </p:nvSpPr>
        <p:spPr>
          <a:xfrm>
            <a:off x="46272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7" name="object 1747"/>
          <p:cNvSpPr/>
          <p:nvPr/>
        </p:nvSpPr>
        <p:spPr>
          <a:xfrm>
            <a:off x="463447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8" name="object 1748"/>
          <p:cNvSpPr/>
          <p:nvPr/>
        </p:nvSpPr>
        <p:spPr>
          <a:xfrm>
            <a:off x="46399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49" name="object 1749"/>
          <p:cNvSpPr/>
          <p:nvPr/>
        </p:nvSpPr>
        <p:spPr>
          <a:xfrm>
            <a:off x="464720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0" name="object 1750"/>
          <p:cNvSpPr/>
          <p:nvPr/>
        </p:nvSpPr>
        <p:spPr>
          <a:xfrm>
            <a:off x="46526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1" name="object 1751"/>
          <p:cNvSpPr/>
          <p:nvPr/>
        </p:nvSpPr>
        <p:spPr>
          <a:xfrm>
            <a:off x="465992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2" name="object 1752"/>
          <p:cNvSpPr/>
          <p:nvPr/>
        </p:nvSpPr>
        <p:spPr>
          <a:xfrm>
            <a:off x="46653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3" name="object 1753"/>
          <p:cNvSpPr/>
          <p:nvPr/>
        </p:nvSpPr>
        <p:spPr>
          <a:xfrm>
            <a:off x="467265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4" name="object 1754"/>
          <p:cNvSpPr/>
          <p:nvPr/>
        </p:nvSpPr>
        <p:spPr>
          <a:xfrm>
            <a:off x="46781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5" name="object 1755"/>
          <p:cNvSpPr/>
          <p:nvPr/>
        </p:nvSpPr>
        <p:spPr>
          <a:xfrm>
            <a:off x="468537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6" name="object 1756"/>
          <p:cNvSpPr/>
          <p:nvPr/>
        </p:nvSpPr>
        <p:spPr>
          <a:xfrm>
            <a:off x="46908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7" name="object 1757"/>
          <p:cNvSpPr/>
          <p:nvPr/>
        </p:nvSpPr>
        <p:spPr>
          <a:xfrm>
            <a:off x="46981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8" name="object 1758"/>
          <p:cNvSpPr/>
          <p:nvPr/>
        </p:nvSpPr>
        <p:spPr>
          <a:xfrm>
            <a:off x="47035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59" name="object 1759"/>
          <p:cNvSpPr/>
          <p:nvPr/>
        </p:nvSpPr>
        <p:spPr>
          <a:xfrm>
            <a:off x="47108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0" name="object 1760"/>
          <p:cNvSpPr/>
          <p:nvPr/>
        </p:nvSpPr>
        <p:spPr>
          <a:xfrm>
            <a:off x="47162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1" name="object 1761"/>
          <p:cNvSpPr/>
          <p:nvPr/>
        </p:nvSpPr>
        <p:spPr>
          <a:xfrm>
            <a:off x="472355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2" name="object 1762"/>
          <p:cNvSpPr/>
          <p:nvPr/>
        </p:nvSpPr>
        <p:spPr>
          <a:xfrm>
            <a:off x="47290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3" name="object 1763"/>
          <p:cNvSpPr/>
          <p:nvPr/>
        </p:nvSpPr>
        <p:spPr>
          <a:xfrm>
            <a:off x="473627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4" name="object 1764"/>
          <p:cNvSpPr/>
          <p:nvPr/>
        </p:nvSpPr>
        <p:spPr>
          <a:xfrm>
            <a:off x="474354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5" name="object 1765"/>
          <p:cNvSpPr/>
          <p:nvPr/>
        </p:nvSpPr>
        <p:spPr>
          <a:xfrm>
            <a:off x="47490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6" name="object 1766"/>
          <p:cNvSpPr/>
          <p:nvPr/>
        </p:nvSpPr>
        <p:spPr>
          <a:xfrm>
            <a:off x="475627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7" name="object 1767"/>
          <p:cNvSpPr/>
          <p:nvPr/>
        </p:nvSpPr>
        <p:spPr>
          <a:xfrm>
            <a:off x="476172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8" name="object 1768"/>
          <p:cNvSpPr/>
          <p:nvPr/>
        </p:nvSpPr>
        <p:spPr>
          <a:xfrm>
            <a:off x="476899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69" name="object 1769"/>
          <p:cNvSpPr/>
          <p:nvPr/>
        </p:nvSpPr>
        <p:spPr>
          <a:xfrm>
            <a:off x="477445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0" name="object 1770"/>
          <p:cNvSpPr/>
          <p:nvPr/>
        </p:nvSpPr>
        <p:spPr>
          <a:xfrm>
            <a:off x="478172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1" name="object 1771"/>
          <p:cNvSpPr/>
          <p:nvPr/>
        </p:nvSpPr>
        <p:spPr>
          <a:xfrm>
            <a:off x="478717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2" name="object 1772"/>
          <p:cNvSpPr/>
          <p:nvPr/>
        </p:nvSpPr>
        <p:spPr>
          <a:xfrm>
            <a:off x="479444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3" name="object 1773"/>
          <p:cNvSpPr/>
          <p:nvPr/>
        </p:nvSpPr>
        <p:spPr>
          <a:xfrm>
            <a:off x="47999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4" name="object 1774"/>
          <p:cNvSpPr/>
          <p:nvPr/>
        </p:nvSpPr>
        <p:spPr>
          <a:xfrm>
            <a:off x="480717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5" name="object 1775"/>
          <p:cNvSpPr/>
          <p:nvPr/>
        </p:nvSpPr>
        <p:spPr>
          <a:xfrm>
            <a:off x="48126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6" name="object 1776"/>
          <p:cNvSpPr/>
          <p:nvPr/>
        </p:nvSpPr>
        <p:spPr>
          <a:xfrm>
            <a:off x="481989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7" name="object 1777"/>
          <p:cNvSpPr/>
          <p:nvPr/>
        </p:nvSpPr>
        <p:spPr>
          <a:xfrm>
            <a:off x="482535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8" name="object 1778"/>
          <p:cNvSpPr/>
          <p:nvPr/>
        </p:nvSpPr>
        <p:spPr>
          <a:xfrm>
            <a:off x="483262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79" name="object 1779"/>
          <p:cNvSpPr/>
          <p:nvPr/>
        </p:nvSpPr>
        <p:spPr>
          <a:xfrm>
            <a:off x="483807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0" name="object 1780"/>
          <p:cNvSpPr/>
          <p:nvPr/>
        </p:nvSpPr>
        <p:spPr>
          <a:xfrm>
            <a:off x="484534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1" name="object 1781"/>
          <p:cNvSpPr/>
          <p:nvPr/>
        </p:nvSpPr>
        <p:spPr>
          <a:xfrm>
            <a:off x="48508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2" name="object 1782"/>
          <p:cNvSpPr/>
          <p:nvPr/>
        </p:nvSpPr>
        <p:spPr>
          <a:xfrm>
            <a:off x="485807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3" name="object 1783"/>
          <p:cNvSpPr/>
          <p:nvPr/>
        </p:nvSpPr>
        <p:spPr>
          <a:xfrm>
            <a:off x="48635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4" name="object 1784"/>
          <p:cNvSpPr/>
          <p:nvPr/>
        </p:nvSpPr>
        <p:spPr>
          <a:xfrm>
            <a:off x="487080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5" name="object 1785"/>
          <p:cNvSpPr/>
          <p:nvPr/>
        </p:nvSpPr>
        <p:spPr>
          <a:xfrm>
            <a:off x="487625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6" name="object 1786"/>
          <p:cNvSpPr/>
          <p:nvPr/>
        </p:nvSpPr>
        <p:spPr>
          <a:xfrm>
            <a:off x="488352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7" name="object 1787"/>
          <p:cNvSpPr/>
          <p:nvPr/>
        </p:nvSpPr>
        <p:spPr>
          <a:xfrm>
            <a:off x="48889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8" name="object 1788"/>
          <p:cNvSpPr/>
          <p:nvPr/>
        </p:nvSpPr>
        <p:spPr>
          <a:xfrm>
            <a:off x="489625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89" name="object 1789"/>
          <p:cNvSpPr/>
          <p:nvPr/>
        </p:nvSpPr>
        <p:spPr>
          <a:xfrm>
            <a:off x="49017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0" name="object 1790"/>
          <p:cNvSpPr/>
          <p:nvPr/>
        </p:nvSpPr>
        <p:spPr>
          <a:xfrm>
            <a:off x="490897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1" name="object 1791"/>
          <p:cNvSpPr/>
          <p:nvPr/>
        </p:nvSpPr>
        <p:spPr>
          <a:xfrm>
            <a:off x="49144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2" name="object 1792"/>
          <p:cNvSpPr/>
          <p:nvPr/>
        </p:nvSpPr>
        <p:spPr>
          <a:xfrm>
            <a:off x="492170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3" name="object 1793"/>
          <p:cNvSpPr/>
          <p:nvPr/>
        </p:nvSpPr>
        <p:spPr>
          <a:xfrm>
            <a:off x="49271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4" name="object 1794"/>
          <p:cNvSpPr/>
          <p:nvPr/>
        </p:nvSpPr>
        <p:spPr>
          <a:xfrm>
            <a:off x="493442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5" name="object 1795"/>
          <p:cNvSpPr/>
          <p:nvPr/>
        </p:nvSpPr>
        <p:spPr>
          <a:xfrm>
            <a:off x="49398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6" name="object 1796"/>
          <p:cNvSpPr/>
          <p:nvPr/>
        </p:nvSpPr>
        <p:spPr>
          <a:xfrm>
            <a:off x="4947151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7" name="object 1797"/>
          <p:cNvSpPr/>
          <p:nvPr/>
        </p:nvSpPr>
        <p:spPr>
          <a:xfrm>
            <a:off x="49526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8" name="object 1798"/>
          <p:cNvSpPr/>
          <p:nvPr/>
        </p:nvSpPr>
        <p:spPr>
          <a:xfrm>
            <a:off x="495987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799" name="object 1799"/>
          <p:cNvSpPr/>
          <p:nvPr/>
        </p:nvSpPr>
        <p:spPr>
          <a:xfrm>
            <a:off x="49653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0" name="object 1800"/>
          <p:cNvSpPr/>
          <p:nvPr/>
        </p:nvSpPr>
        <p:spPr>
          <a:xfrm>
            <a:off x="49726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1" name="object 1801"/>
          <p:cNvSpPr/>
          <p:nvPr/>
        </p:nvSpPr>
        <p:spPr>
          <a:xfrm>
            <a:off x="49780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2" name="object 1802"/>
          <p:cNvSpPr/>
          <p:nvPr/>
        </p:nvSpPr>
        <p:spPr>
          <a:xfrm>
            <a:off x="498532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3" name="object 1803"/>
          <p:cNvSpPr/>
          <p:nvPr/>
        </p:nvSpPr>
        <p:spPr>
          <a:xfrm>
            <a:off x="49907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4" name="object 1804"/>
          <p:cNvSpPr/>
          <p:nvPr/>
        </p:nvSpPr>
        <p:spPr>
          <a:xfrm>
            <a:off x="499805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5" name="object 1805"/>
          <p:cNvSpPr/>
          <p:nvPr/>
        </p:nvSpPr>
        <p:spPr>
          <a:xfrm>
            <a:off x="50035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6" name="object 1806"/>
          <p:cNvSpPr/>
          <p:nvPr/>
        </p:nvSpPr>
        <p:spPr>
          <a:xfrm>
            <a:off x="501077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7" name="object 1807"/>
          <p:cNvSpPr/>
          <p:nvPr/>
        </p:nvSpPr>
        <p:spPr>
          <a:xfrm>
            <a:off x="50162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8" name="object 1808"/>
          <p:cNvSpPr/>
          <p:nvPr/>
        </p:nvSpPr>
        <p:spPr>
          <a:xfrm>
            <a:off x="502350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09" name="object 1809"/>
          <p:cNvSpPr/>
          <p:nvPr/>
        </p:nvSpPr>
        <p:spPr>
          <a:xfrm>
            <a:off x="50289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0" name="object 1810"/>
          <p:cNvSpPr/>
          <p:nvPr/>
        </p:nvSpPr>
        <p:spPr>
          <a:xfrm>
            <a:off x="503622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1" name="object 1811"/>
          <p:cNvSpPr/>
          <p:nvPr/>
        </p:nvSpPr>
        <p:spPr>
          <a:xfrm>
            <a:off x="50416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2" name="object 1812"/>
          <p:cNvSpPr/>
          <p:nvPr/>
        </p:nvSpPr>
        <p:spPr>
          <a:xfrm>
            <a:off x="504895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3" name="object 1813"/>
          <p:cNvSpPr/>
          <p:nvPr/>
        </p:nvSpPr>
        <p:spPr>
          <a:xfrm>
            <a:off x="50544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4" name="object 1814"/>
          <p:cNvSpPr/>
          <p:nvPr/>
        </p:nvSpPr>
        <p:spPr>
          <a:xfrm>
            <a:off x="506167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5" name="object 1815"/>
          <p:cNvSpPr/>
          <p:nvPr/>
        </p:nvSpPr>
        <p:spPr>
          <a:xfrm>
            <a:off x="50671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6" name="object 1816"/>
          <p:cNvSpPr/>
          <p:nvPr/>
        </p:nvSpPr>
        <p:spPr>
          <a:xfrm>
            <a:off x="50744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7" name="object 1817"/>
          <p:cNvSpPr/>
          <p:nvPr/>
        </p:nvSpPr>
        <p:spPr>
          <a:xfrm>
            <a:off x="50798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8" name="object 1818"/>
          <p:cNvSpPr/>
          <p:nvPr/>
        </p:nvSpPr>
        <p:spPr>
          <a:xfrm>
            <a:off x="508712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19" name="object 1819"/>
          <p:cNvSpPr/>
          <p:nvPr/>
        </p:nvSpPr>
        <p:spPr>
          <a:xfrm>
            <a:off x="50925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0" name="object 1820"/>
          <p:cNvSpPr/>
          <p:nvPr/>
        </p:nvSpPr>
        <p:spPr>
          <a:xfrm>
            <a:off x="509985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1" name="object 1821"/>
          <p:cNvSpPr/>
          <p:nvPr/>
        </p:nvSpPr>
        <p:spPr>
          <a:xfrm>
            <a:off x="51053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2" name="object 1822"/>
          <p:cNvSpPr/>
          <p:nvPr/>
        </p:nvSpPr>
        <p:spPr>
          <a:xfrm>
            <a:off x="511257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3" name="object 1823"/>
          <p:cNvSpPr/>
          <p:nvPr/>
        </p:nvSpPr>
        <p:spPr>
          <a:xfrm>
            <a:off x="51180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4" name="object 1824"/>
          <p:cNvSpPr/>
          <p:nvPr/>
        </p:nvSpPr>
        <p:spPr>
          <a:xfrm>
            <a:off x="51253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5" name="object 1825"/>
          <p:cNvSpPr/>
          <p:nvPr/>
        </p:nvSpPr>
        <p:spPr>
          <a:xfrm>
            <a:off x="51307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6" name="object 1826"/>
          <p:cNvSpPr/>
          <p:nvPr/>
        </p:nvSpPr>
        <p:spPr>
          <a:xfrm>
            <a:off x="51380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7" name="object 1827"/>
          <p:cNvSpPr/>
          <p:nvPr/>
        </p:nvSpPr>
        <p:spPr>
          <a:xfrm>
            <a:off x="51434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8" name="object 1828"/>
          <p:cNvSpPr/>
          <p:nvPr/>
        </p:nvSpPr>
        <p:spPr>
          <a:xfrm>
            <a:off x="515075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29" name="object 1829"/>
          <p:cNvSpPr/>
          <p:nvPr/>
        </p:nvSpPr>
        <p:spPr>
          <a:xfrm>
            <a:off x="51562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0" name="object 1830"/>
          <p:cNvSpPr/>
          <p:nvPr/>
        </p:nvSpPr>
        <p:spPr>
          <a:xfrm>
            <a:off x="51634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1" name="object 1831"/>
          <p:cNvSpPr/>
          <p:nvPr/>
        </p:nvSpPr>
        <p:spPr>
          <a:xfrm>
            <a:off x="51689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2" name="object 1832"/>
          <p:cNvSpPr/>
          <p:nvPr/>
        </p:nvSpPr>
        <p:spPr>
          <a:xfrm>
            <a:off x="51762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3" name="object 1833"/>
          <p:cNvSpPr/>
          <p:nvPr/>
        </p:nvSpPr>
        <p:spPr>
          <a:xfrm>
            <a:off x="518347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4" name="object 1834"/>
          <p:cNvSpPr/>
          <p:nvPr/>
        </p:nvSpPr>
        <p:spPr>
          <a:xfrm>
            <a:off x="51889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5" name="object 1835"/>
          <p:cNvSpPr/>
          <p:nvPr/>
        </p:nvSpPr>
        <p:spPr>
          <a:xfrm>
            <a:off x="519619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6" name="object 1836"/>
          <p:cNvSpPr/>
          <p:nvPr/>
        </p:nvSpPr>
        <p:spPr>
          <a:xfrm>
            <a:off x="52016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7" name="object 1837"/>
          <p:cNvSpPr/>
          <p:nvPr/>
        </p:nvSpPr>
        <p:spPr>
          <a:xfrm>
            <a:off x="5208926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8" name="object 1838"/>
          <p:cNvSpPr/>
          <p:nvPr/>
        </p:nvSpPr>
        <p:spPr>
          <a:xfrm>
            <a:off x="521437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39" name="object 1839"/>
          <p:cNvSpPr/>
          <p:nvPr/>
        </p:nvSpPr>
        <p:spPr>
          <a:xfrm>
            <a:off x="522165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0" name="object 1840"/>
          <p:cNvSpPr/>
          <p:nvPr/>
        </p:nvSpPr>
        <p:spPr>
          <a:xfrm>
            <a:off x="52271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1" name="object 1841"/>
          <p:cNvSpPr/>
          <p:nvPr/>
        </p:nvSpPr>
        <p:spPr>
          <a:xfrm>
            <a:off x="523437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2" name="object 1842"/>
          <p:cNvSpPr/>
          <p:nvPr/>
        </p:nvSpPr>
        <p:spPr>
          <a:xfrm>
            <a:off x="52398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3" name="object 1843"/>
          <p:cNvSpPr/>
          <p:nvPr/>
        </p:nvSpPr>
        <p:spPr>
          <a:xfrm>
            <a:off x="524709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4" name="object 1844"/>
          <p:cNvSpPr/>
          <p:nvPr/>
        </p:nvSpPr>
        <p:spPr>
          <a:xfrm>
            <a:off x="52525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5" name="object 1845"/>
          <p:cNvSpPr/>
          <p:nvPr/>
        </p:nvSpPr>
        <p:spPr>
          <a:xfrm>
            <a:off x="525982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6" name="object 1846"/>
          <p:cNvSpPr/>
          <p:nvPr/>
        </p:nvSpPr>
        <p:spPr>
          <a:xfrm>
            <a:off x="526527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7" name="object 1847"/>
          <p:cNvSpPr/>
          <p:nvPr/>
        </p:nvSpPr>
        <p:spPr>
          <a:xfrm>
            <a:off x="527255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8" name="object 1848"/>
          <p:cNvSpPr/>
          <p:nvPr/>
        </p:nvSpPr>
        <p:spPr>
          <a:xfrm>
            <a:off x="52780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49" name="object 1849"/>
          <p:cNvSpPr/>
          <p:nvPr/>
        </p:nvSpPr>
        <p:spPr>
          <a:xfrm>
            <a:off x="528527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0" name="object 1850"/>
          <p:cNvSpPr/>
          <p:nvPr/>
        </p:nvSpPr>
        <p:spPr>
          <a:xfrm>
            <a:off x="52907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1" name="object 1851"/>
          <p:cNvSpPr/>
          <p:nvPr/>
        </p:nvSpPr>
        <p:spPr>
          <a:xfrm>
            <a:off x="5298001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2" name="object 1852"/>
          <p:cNvSpPr/>
          <p:nvPr/>
        </p:nvSpPr>
        <p:spPr>
          <a:xfrm>
            <a:off x="53034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3" name="object 1853"/>
          <p:cNvSpPr/>
          <p:nvPr/>
        </p:nvSpPr>
        <p:spPr>
          <a:xfrm>
            <a:off x="531072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4" name="object 1854"/>
          <p:cNvSpPr/>
          <p:nvPr/>
        </p:nvSpPr>
        <p:spPr>
          <a:xfrm>
            <a:off x="53161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5" name="object 1855"/>
          <p:cNvSpPr/>
          <p:nvPr/>
        </p:nvSpPr>
        <p:spPr>
          <a:xfrm>
            <a:off x="532345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6" name="object 1856"/>
          <p:cNvSpPr/>
          <p:nvPr/>
        </p:nvSpPr>
        <p:spPr>
          <a:xfrm>
            <a:off x="53289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7" name="object 1857"/>
          <p:cNvSpPr/>
          <p:nvPr/>
        </p:nvSpPr>
        <p:spPr>
          <a:xfrm>
            <a:off x="5336176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8" name="object 1858"/>
          <p:cNvSpPr/>
          <p:nvPr/>
        </p:nvSpPr>
        <p:spPr>
          <a:xfrm>
            <a:off x="53416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59" name="object 1859"/>
          <p:cNvSpPr/>
          <p:nvPr/>
        </p:nvSpPr>
        <p:spPr>
          <a:xfrm>
            <a:off x="5348901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0" name="object 1860"/>
          <p:cNvSpPr/>
          <p:nvPr/>
        </p:nvSpPr>
        <p:spPr>
          <a:xfrm>
            <a:off x="53543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1" name="object 1861"/>
          <p:cNvSpPr/>
          <p:nvPr/>
        </p:nvSpPr>
        <p:spPr>
          <a:xfrm>
            <a:off x="536162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2" name="object 1862"/>
          <p:cNvSpPr/>
          <p:nvPr/>
        </p:nvSpPr>
        <p:spPr>
          <a:xfrm>
            <a:off x="53670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3" name="object 1863"/>
          <p:cNvSpPr/>
          <p:nvPr/>
        </p:nvSpPr>
        <p:spPr>
          <a:xfrm>
            <a:off x="5374351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4" name="object 1864"/>
          <p:cNvSpPr/>
          <p:nvPr/>
        </p:nvSpPr>
        <p:spPr>
          <a:xfrm>
            <a:off x="53798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5" name="object 1865"/>
          <p:cNvSpPr/>
          <p:nvPr/>
        </p:nvSpPr>
        <p:spPr>
          <a:xfrm>
            <a:off x="538707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6" name="object 1866"/>
          <p:cNvSpPr/>
          <p:nvPr/>
        </p:nvSpPr>
        <p:spPr>
          <a:xfrm>
            <a:off x="53925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7" name="object 1867"/>
          <p:cNvSpPr/>
          <p:nvPr/>
        </p:nvSpPr>
        <p:spPr>
          <a:xfrm>
            <a:off x="53998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8" name="object 1868"/>
          <p:cNvSpPr/>
          <p:nvPr/>
        </p:nvSpPr>
        <p:spPr>
          <a:xfrm>
            <a:off x="54052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69" name="object 1869"/>
          <p:cNvSpPr/>
          <p:nvPr/>
        </p:nvSpPr>
        <p:spPr>
          <a:xfrm>
            <a:off x="541252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0" name="object 1870"/>
          <p:cNvSpPr/>
          <p:nvPr/>
        </p:nvSpPr>
        <p:spPr>
          <a:xfrm>
            <a:off x="54179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1" name="object 1871"/>
          <p:cNvSpPr/>
          <p:nvPr/>
        </p:nvSpPr>
        <p:spPr>
          <a:xfrm>
            <a:off x="54252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2" name="object 1872"/>
          <p:cNvSpPr/>
          <p:nvPr/>
        </p:nvSpPr>
        <p:spPr>
          <a:xfrm>
            <a:off x="54307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3" name="object 1873"/>
          <p:cNvSpPr/>
          <p:nvPr/>
        </p:nvSpPr>
        <p:spPr>
          <a:xfrm>
            <a:off x="543797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4" name="object 1874"/>
          <p:cNvSpPr/>
          <p:nvPr/>
        </p:nvSpPr>
        <p:spPr>
          <a:xfrm>
            <a:off x="54434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5" name="object 1875"/>
          <p:cNvSpPr/>
          <p:nvPr/>
        </p:nvSpPr>
        <p:spPr>
          <a:xfrm>
            <a:off x="545070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6" name="object 1876"/>
          <p:cNvSpPr/>
          <p:nvPr/>
        </p:nvSpPr>
        <p:spPr>
          <a:xfrm>
            <a:off x="54561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7" name="object 1877"/>
          <p:cNvSpPr/>
          <p:nvPr/>
        </p:nvSpPr>
        <p:spPr>
          <a:xfrm>
            <a:off x="54634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8" name="object 1878"/>
          <p:cNvSpPr/>
          <p:nvPr/>
        </p:nvSpPr>
        <p:spPr>
          <a:xfrm>
            <a:off x="54688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79" name="object 1879"/>
          <p:cNvSpPr/>
          <p:nvPr/>
        </p:nvSpPr>
        <p:spPr>
          <a:xfrm>
            <a:off x="547615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0" name="object 1880"/>
          <p:cNvSpPr/>
          <p:nvPr/>
        </p:nvSpPr>
        <p:spPr>
          <a:xfrm>
            <a:off x="548160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1" name="object 1881"/>
          <p:cNvSpPr/>
          <p:nvPr/>
        </p:nvSpPr>
        <p:spPr>
          <a:xfrm>
            <a:off x="548887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2" name="object 1882"/>
          <p:cNvSpPr/>
          <p:nvPr/>
        </p:nvSpPr>
        <p:spPr>
          <a:xfrm>
            <a:off x="54943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3" name="object 1883"/>
          <p:cNvSpPr/>
          <p:nvPr/>
        </p:nvSpPr>
        <p:spPr>
          <a:xfrm>
            <a:off x="55016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4" name="object 1884"/>
          <p:cNvSpPr/>
          <p:nvPr/>
        </p:nvSpPr>
        <p:spPr>
          <a:xfrm>
            <a:off x="55070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5" name="object 1885"/>
          <p:cNvSpPr/>
          <p:nvPr/>
        </p:nvSpPr>
        <p:spPr>
          <a:xfrm>
            <a:off x="551432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6" name="object 1886"/>
          <p:cNvSpPr/>
          <p:nvPr/>
        </p:nvSpPr>
        <p:spPr>
          <a:xfrm>
            <a:off x="55197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7" name="object 1887"/>
          <p:cNvSpPr/>
          <p:nvPr/>
        </p:nvSpPr>
        <p:spPr>
          <a:xfrm>
            <a:off x="55270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8" name="object 1888"/>
          <p:cNvSpPr/>
          <p:nvPr/>
        </p:nvSpPr>
        <p:spPr>
          <a:xfrm>
            <a:off x="55325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89" name="object 1889"/>
          <p:cNvSpPr/>
          <p:nvPr/>
        </p:nvSpPr>
        <p:spPr>
          <a:xfrm>
            <a:off x="55397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0" name="object 1890"/>
          <p:cNvSpPr/>
          <p:nvPr/>
        </p:nvSpPr>
        <p:spPr>
          <a:xfrm>
            <a:off x="55452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1" name="object 1891"/>
          <p:cNvSpPr/>
          <p:nvPr/>
        </p:nvSpPr>
        <p:spPr>
          <a:xfrm>
            <a:off x="55525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2" name="object 1892"/>
          <p:cNvSpPr/>
          <p:nvPr/>
        </p:nvSpPr>
        <p:spPr>
          <a:xfrm>
            <a:off x="55579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3" name="object 1893"/>
          <p:cNvSpPr/>
          <p:nvPr/>
        </p:nvSpPr>
        <p:spPr>
          <a:xfrm>
            <a:off x="55652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4" name="object 1894"/>
          <p:cNvSpPr/>
          <p:nvPr/>
        </p:nvSpPr>
        <p:spPr>
          <a:xfrm>
            <a:off x="55706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5" name="object 1895"/>
          <p:cNvSpPr/>
          <p:nvPr/>
        </p:nvSpPr>
        <p:spPr>
          <a:xfrm>
            <a:off x="55779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6" name="object 1896"/>
          <p:cNvSpPr/>
          <p:nvPr/>
        </p:nvSpPr>
        <p:spPr>
          <a:xfrm>
            <a:off x="55834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7" name="object 1897"/>
          <p:cNvSpPr/>
          <p:nvPr/>
        </p:nvSpPr>
        <p:spPr>
          <a:xfrm>
            <a:off x="55906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8" name="object 1898"/>
          <p:cNvSpPr/>
          <p:nvPr/>
        </p:nvSpPr>
        <p:spPr>
          <a:xfrm>
            <a:off x="559613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899" name="object 1899"/>
          <p:cNvSpPr/>
          <p:nvPr/>
        </p:nvSpPr>
        <p:spPr>
          <a:xfrm>
            <a:off x="56034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0" name="object 1900"/>
          <p:cNvSpPr/>
          <p:nvPr/>
        </p:nvSpPr>
        <p:spPr>
          <a:xfrm>
            <a:off x="561067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1" name="object 1901"/>
          <p:cNvSpPr/>
          <p:nvPr/>
        </p:nvSpPr>
        <p:spPr>
          <a:xfrm>
            <a:off x="56161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2" name="object 1902"/>
          <p:cNvSpPr/>
          <p:nvPr/>
        </p:nvSpPr>
        <p:spPr>
          <a:xfrm>
            <a:off x="562340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3" name="object 1903"/>
          <p:cNvSpPr/>
          <p:nvPr/>
        </p:nvSpPr>
        <p:spPr>
          <a:xfrm>
            <a:off x="56288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4" name="object 1904"/>
          <p:cNvSpPr/>
          <p:nvPr/>
        </p:nvSpPr>
        <p:spPr>
          <a:xfrm>
            <a:off x="5636125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5" name="object 1905"/>
          <p:cNvSpPr/>
          <p:nvPr/>
        </p:nvSpPr>
        <p:spPr>
          <a:xfrm>
            <a:off x="56415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6" name="object 1906"/>
          <p:cNvSpPr/>
          <p:nvPr/>
        </p:nvSpPr>
        <p:spPr>
          <a:xfrm>
            <a:off x="564885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7" name="object 1907"/>
          <p:cNvSpPr/>
          <p:nvPr/>
        </p:nvSpPr>
        <p:spPr>
          <a:xfrm>
            <a:off x="56543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8" name="object 1908"/>
          <p:cNvSpPr/>
          <p:nvPr/>
        </p:nvSpPr>
        <p:spPr>
          <a:xfrm>
            <a:off x="5661576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09" name="object 1909"/>
          <p:cNvSpPr/>
          <p:nvPr/>
        </p:nvSpPr>
        <p:spPr>
          <a:xfrm>
            <a:off x="56670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0" name="object 1910"/>
          <p:cNvSpPr/>
          <p:nvPr/>
        </p:nvSpPr>
        <p:spPr>
          <a:xfrm>
            <a:off x="5674300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1" name="object 1911"/>
          <p:cNvSpPr/>
          <p:nvPr/>
        </p:nvSpPr>
        <p:spPr>
          <a:xfrm>
            <a:off x="56797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2" name="object 1912"/>
          <p:cNvSpPr/>
          <p:nvPr/>
        </p:nvSpPr>
        <p:spPr>
          <a:xfrm>
            <a:off x="568702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3" name="object 1913"/>
          <p:cNvSpPr/>
          <p:nvPr/>
        </p:nvSpPr>
        <p:spPr>
          <a:xfrm>
            <a:off x="56924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4" name="object 1914"/>
          <p:cNvSpPr/>
          <p:nvPr/>
        </p:nvSpPr>
        <p:spPr>
          <a:xfrm>
            <a:off x="5699751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5" name="object 1915"/>
          <p:cNvSpPr/>
          <p:nvPr/>
        </p:nvSpPr>
        <p:spPr>
          <a:xfrm>
            <a:off x="57052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6" name="object 1916"/>
          <p:cNvSpPr/>
          <p:nvPr/>
        </p:nvSpPr>
        <p:spPr>
          <a:xfrm>
            <a:off x="5712476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7" name="object 1917"/>
          <p:cNvSpPr/>
          <p:nvPr/>
        </p:nvSpPr>
        <p:spPr>
          <a:xfrm>
            <a:off x="57179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8" name="object 1918"/>
          <p:cNvSpPr/>
          <p:nvPr/>
        </p:nvSpPr>
        <p:spPr>
          <a:xfrm>
            <a:off x="572520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19" name="object 1919"/>
          <p:cNvSpPr/>
          <p:nvPr/>
        </p:nvSpPr>
        <p:spPr>
          <a:xfrm>
            <a:off x="57306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0" name="object 1920"/>
          <p:cNvSpPr/>
          <p:nvPr/>
        </p:nvSpPr>
        <p:spPr>
          <a:xfrm>
            <a:off x="5737926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1" name="object 1921"/>
          <p:cNvSpPr/>
          <p:nvPr/>
        </p:nvSpPr>
        <p:spPr>
          <a:xfrm>
            <a:off x="57433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2" name="object 1922"/>
          <p:cNvSpPr/>
          <p:nvPr/>
        </p:nvSpPr>
        <p:spPr>
          <a:xfrm>
            <a:off x="575065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3" name="object 1923"/>
          <p:cNvSpPr/>
          <p:nvPr/>
        </p:nvSpPr>
        <p:spPr>
          <a:xfrm>
            <a:off x="57561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4" name="object 1924"/>
          <p:cNvSpPr/>
          <p:nvPr/>
        </p:nvSpPr>
        <p:spPr>
          <a:xfrm>
            <a:off x="5763376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5" name="object 1925"/>
          <p:cNvSpPr/>
          <p:nvPr/>
        </p:nvSpPr>
        <p:spPr>
          <a:xfrm>
            <a:off x="57688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6" name="object 1926"/>
          <p:cNvSpPr/>
          <p:nvPr/>
        </p:nvSpPr>
        <p:spPr>
          <a:xfrm>
            <a:off x="577610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7" name="object 1927"/>
          <p:cNvSpPr/>
          <p:nvPr/>
        </p:nvSpPr>
        <p:spPr>
          <a:xfrm>
            <a:off x="57815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8" name="object 1928"/>
          <p:cNvSpPr/>
          <p:nvPr/>
        </p:nvSpPr>
        <p:spPr>
          <a:xfrm>
            <a:off x="578882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29" name="object 1929"/>
          <p:cNvSpPr/>
          <p:nvPr/>
        </p:nvSpPr>
        <p:spPr>
          <a:xfrm>
            <a:off x="57942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0" name="object 1930"/>
          <p:cNvSpPr/>
          <p:nvPr/>
        </p:nvSpPr>
        <p:spPr>
          <a:xfrm>
            <a:off x="580155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1" name="object 1931"/>
          <p:cNvSpPr/>
          <p:nvPr/>
        </p:nvSpPr>
        <p:spPr>
          <a:xfrm>
            <a:off x="58070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2" name="object 1932"/>
          <p:cNvSpPr/>
          <p:nvPr/>
        </p:nvSpPr>
        <p:spPr>
          <a:xfrm>
            <a:off x="581427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3" name="object 1933"/>
          <p:cNvSpPr/>
          <p:nvPr/>
        </p:nvSpPr>
        <p:spPr>
          <a:xfrm>
            <a:off x="58197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4" name="object 1934"/>
          <p:cNvSpPr/>
          <p:nvPr/>
        </p:nvSpPr>
        <p:spPr>
          <a:xfrm>
            <a:off x="58270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5" name="object 1935"/>
          <p:cNvSpPr/>
          <p:nvPr/>
        </p:nvSpPr>
        <p:spPr>
          <a:xfrm>
            <a:off x="58324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6" name="object 1936"/>
          <p:cNvSpPr/>
          <p:nvPr/>
        </p:nvSpPr>
        <p:spPr>
          <a:xfrm>
            <a:off x="583972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7" name="object 1937"/>
          <p:cNvSpPr/>
          <p:nvPr/>
        </p:nvSpPr>
        <p:spPr>
          <a:xfrm>
            <a:off x="58451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8" name="object 1938"/>
          <p:cNvSpPr/>
          <p:nvPr/>
        </p:nvSpPr>
        <p:spPr>
          <a:xfrm>
            <a:off x="585245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39" name="object 1939"/>
          <p:cNvSpPr/>
          <p:nvPr/>
        </p:nvSpPr>
        <p:spPr>
          <a:xfrm>
            <a:off x="585790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0" name="object 1940"/>
          <p:cNvSpPr/>
          <p:nvPr/>
        </p:nvSpPr>
        <p:spPr>
          <a:xfrm>
            <a:off x="586517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1" name="object 1941"/>
          <p:cNvSpPr/>
          <p:nvPr/>
        </p:nvSpPr>
        <p:spPr>
          <a:xfrm>
            <a:off x="58706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2" name="object 1942"/>
          <p:cNvSpPr/>
          <p:nvPr/>
        </p:nvSpPr>
        <p:spPr>
          <a:xfrm>
            <a:off x="587790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3" name="object 1943"/>
          <p:cNvSpPr/>
          <p:nvPr/>
        </p:nvSpPr>
        <p:spPr>
          <a:xfrm>
            <a:off x="58833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4" name="object 1944"/>
          <p:cNvSpPr/>
          <p:nvPr/>
        </p:nvSpPr>
        <p:spPr>
          <a:xfrm>
            <a:off x="58906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5" name="object 1945"/>
          <p:cNvSpPr/>
          <p:nvPr/>
        </p:nvSpPr>
        <p:spPr>
          <a:xfrm>
            <a:off x="58960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6" name="object 1946"/>
          <p:cNvSpPr/>
          <p:nvPr/>
        </p:nvSpPr>
        <p:spPr>
          <a:xfrm>
            <a:off x="59033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7" name="object 1947"/>
          <p:cNvSpPr/>
          <p:nvPr/>
        </p:nvSpPr>
        <p:spPr>
          <a:xfrm>
            <a:off x="59088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8" name="object 1948"/>
          <p:cNvSpPr/>
          <p:nvPr/>
        </p:nvSpPr>
        <p:spPr>
          <a:xfrm>
            <a:off x="59160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49" name="object 1949"/>
          <p:cNvSpPr/>
          <p:nvPr/>
        </p:nvSpPr>
        <p:spPr>
          <a:xfrm>
            <a:off x="59215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0" name="object 1950"/>
          <p:cNvSpPr/>
          <p:nvPr/>
        </p:nvSpPr>
        <p:spPr>
          <a:xfrm>
            <a:off x="59288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1" name="object 1951"/>
          <p:cNvSpPr/>
          <p:nvPr/>
        </p:nvSpPr>
        <p:spPr>
          <a:xfrm>
            <a:off x="59342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2" name="object 1952"/>
          <p:cNvSpPr/>
          <p:nvPr/>
        </p:nvSpPr>
        <p:spPr>
          <a:xfrm>
            <a:off x="594152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3" name="object 1953"/>
          <p:cNvSpPr/>
          <p:nvPr/>
        </p:nvSpPr>
        <p:spPr>
          <a:xfrm>
            <a:off x="594698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4" name="object 1954"/>
          <p:cNvSpPr/>
          <p:nvPr/>
        </p:nvSpPr>
        <p:spPr>
          <a:xfrm>
            <a:off x="59542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5" name="object 1955"/>
          <p:cNvSpPr/>
          <p:nvPr/>
        </p:nvSpPr>
        <p:spPr>
          <a:xfrm>
            <a:off x="595970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6" name="object 1956"/>
          <p:cNvSpPr/>
          <p:nvPr/>
        </p:nvSpPr>
        <p:spPr>
          <a:xfrm>
            <a:off x="59669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7" name="object 1957"/>
          <p:cNvSpPr/>
          <p:nvPr/>
        </p:nvSpPr>
        <p:spPr>
          <a:xfrm>
            <a:off x="597243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8" name="object 1958"/>
          <p:cNvSpPr/>
          <p:nvPr/>
        </p:nvSpPr>
        <p:spPr>
          <a:xfrm>
            <a:off x="59797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59" name="object 1959"/>
          <p:cNvSpPr/>
          <p:nvPr/>
        </p:nvSpPr>
        <p:spPr>
          <a:xfrm>
            <a:off x="598515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0" name="object 1960"/>
          <p:cNvSpPr/>
          <p:nvPr/>
        </p:nvSpPr>
        <p:spPr>
          <a:xfrm>
            <a:off x="59924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1" name="object 1961"/>
          <p:cNvSpPr/>
          <p:nvPr/>
        </p:nvSpPr>
        <p:spPr>
          <a:xfrm>
            <a:off x="599788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2" name="object 1962"/>
          <p:cNvSpPr/>
          <p:nvPr/>
        </p:nvSpPr>
        <p:spPr>
          <a:xfrm>
            <a:off x="60051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3" name="object 1963"/>
          <p:cNvSpPr/>
          <p:nvPr/>
        </p:nvSpPr>
        <p:spPr>
          <a:xfrm>
            <a:off x="601060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4" name="object 1964"/>
          <p:cNvSpPr/>
          <p:nvPr/>
        </p:nvSpPr>
        <p:spPr>
          <a:xfrm>
            <a:off x="60178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5" name="object 1965"/>
          <p:cNvSpPr/>
          <p:nvPr/>
        </p:nvSpPr>
        <p:spPr>
          <a:xfrm>
            <a:off x="602333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6" name="object 1966"/>
          <p:cNvSpPr/>
          <p:nvPr/>
        </p:nvSpPr>
        <p:spPr>
          <a:xfrm>
            <a:off x="60306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7" name="object 1967"/>
          <p:cNvSpPr/>
          <p:nvPr/>
        </p:nvSpPr>
        <p:spPr>
          <a:xfrm>
            <a:off x="603605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8" name="object 1968"/>
          <p:cNvSpPr/>
          <p:nvPr/>
        </p:nvSpPr>
        <p:spPr>
          <a:xfrm>
            <a:off x="60433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69" name="object 1969"/>
          <p:cNvSpPr/>
          <p:nvPr/>
        </p:nvSpPr>
        <p:spPr>
          <a:xfrm>
            <a:off x="605060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0" name="object 1970"/>
          <p:cNvSpPr/>
          <p:nvPr/>
        </p:nvSpPr>
        <p:spPr>
          <a:xfrm>
            <a:off x="60560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1" name="object 1971"/>
          <p:cNvSpPr/>
          <p:nvPr/>
        </p:nvSpPr>
        <p:spPr>
          <a:xfrm>
            <a:off x="606332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2" name="object 1972"/>
          <p:cNvSpPr/>
          <p:nvPr/>
        </p:nvSpPr>
        <p:spPr>
          <a:xfrm>
            <a:off x="60687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3" name="object 1973"/>
          <p:cNvSpPr/>
          <p:nvPr/>
        </p:nvSpPr>
        <p:spPr>
          <a:xfrm>
            <a:off x="6076051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4" name="object 1974"/>
          <p:cNvSpPr/>
          <p:nvPr/>
        </p:nvSpPr>
        <p:spPr>
          <a:xfrm>
            <a:off x="60815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5" name="object 1975"/>
          <p:cNvSpPr/>
          <p:nvPr/>
        </p:nvSpPr>
        <p:spPr>
          <a:xfrm>
            <a:off x="608877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6" name="object 1976"/>
          <p:cNvSpPr/>
          <p:nvPr/>
        </p:nvSpPr>
        <p:spPr>
          <a:xfrm>
            <a:off x="60942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7" name="object 1977"/>
          <p:cNvSpPr/>
          <p:nvPr/>
        </p:nvSpPr>
        <p:spPr>
          <a:xfrm>
            <a:off x="610150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8" name="object 1978"/>
          <p:cNvSpPr/>
          <p:nvPr/>
        </p:nvSpPr>
        <p:spPr>
          <a:xfrm>
            <a:off x="61069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79" name="object 1979"/>
          <p:cNvSpPr/>
          <p:nvPr/>
        </p:nvSpPr>
        <p:spPr>
          <a:xfrm>
            <a:off x="611422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0" name="object 1980"/>
          <p:cNvSpPr/>
          <p:nvPr/>
        </p:nvSpPr>
        <p:spPr>
          <a:xfrm>
            <a:off x="61196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1" name="object 1981"/>
          <p:cNvSpPr/>
          <p:nvPr/>
        </p:nvSpPr>
        <p:spPr>
          <a:xfrm>
            <a:off x="612695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2" name="object 1982"/>
          <p:cNvSpPr/>
          <p:nvPr/>
        </p:nvSpPr>
        <p:spPr>
          <a:xfrm>
            <a:off x="61324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3" name="object 1983"/>
          <p:cNvSpPr/>
          <p:nvPr/>
        </p:nvSpPr>
        <p:spPr>
          <a:xfrm>
            <a:off x="613967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4" name="object 1984"/>
          <p:cNvSpPr/>
          <p:nvPr/>
        </p:nvSpPr>
        <p:spPr>
          <a:xfrm>
            <a:off x="61451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5" name="object 1985"/>
          <p:cNvSpPr/>
          <p:nvPr/>
        </p:nvSpPr>
        <p:spPr>
          <a:xfrm>
            <a:off x="615240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6" name="object 1986"/>
          <p:cNvSpPr/>
          <p:nvPr/>
        </p:nvSpPr>
        <p:spPr>
          <a:xfrm>
            <a:off x="61578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7" name="object 1987"/>
          <p:cNvSpPr/>
          <p:nvPr/>
        </p:nvSpPr>
        <p:spPr>
          <a:xfrm>
            <a:off x="616512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8" name="object 1988"/>
          <p:cNvSpPr/>
          <p:nvPr/>
        </p:nvSpPr>
        <p:spPr>
          <a:xfrm>
            <a:off x="61705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89" name="object 1989"/>
          <p:cNvSpPr/>
          <p:nvPr/>
        </p:nvSpPr>
        <p:spPr>
          <a:xfrm>
            <a:off x="617785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0" name="object 1990"/>
          <p:cNvSpPr/>
          <p:nvPr/>
        </p:nvSpPr>
        <p:spPr>
          <a:xfrm>
            <a:off x="618330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1" name="object 1991"/>
          <p:cNvSpPr/>
          <p:nvPr/>
        </p:nvSpPr>
        <p:spPr>
          <a:xfrm>
            <a:off x="619057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2" name="object 1992"/>
          <p:cNvSpPr/>
          <p:nvPr/>
        </p:nvSpPr>
        <p:spPr>
          <a:xfrm>
            <a:off x="61960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3" name="object 1993"/>
          <p:cNvSpPr/>
          <p:nvPr/>
        </p:nvSpPr>
        <p:spPr>
          <a:xfrm>
            <a:off x="620330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4" name="object 1994"/>
          <p:cNvSpPr/>
          <p:nvPr/>
        </p:nvSpPr>
        <p:spPr>
          <a:xfrm>
            <a:off x="62087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5" name="object 1995"/>
          <p:cNvSpPr/>
          <p:nvPr/>
        </p:nvSpPr>
        <p:spPr>
          <a:xfrm>
            <a:off x="6216027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6" name="object 1996"/>
          <p:cNvSpPr/>
          <p:nvPr/>
        </p:nvSpPr>
        <p:spPr>
          <a:xfrm>
            <a:off x="622148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7" name="object 1997"/>
          <p:cNvSpPr/>
          <p:nvPr/>
        </p:nvSpPr>
        <p:spPr>
          <a:xfrm>
            <a:off x="622875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8" name="object 1998"/>
          <p:cNvSpPr/>
          <p:nvPr/>
        </p:nvSpPr>
        <p:spPr>
          <a:xfrm>
            <a:off x="62342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1999" name="object 1999"/>
          <p:cNvSpPr/>
          <p:nvPr/>
        </p:nvSpPr>
        <p:spPr>
          <a:xfrm>
            <a:off x="624147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0" name="object 2000"/>
          <p:cNvSpPr/>
          <p:nvPr/>
        </p:nvSpPr>
        <p:spPr>
          <a:xfrm>
            <a:off x="62469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1" name="object 2001"/>
          <p:cNvSpPr/>
          <p:nvPr/>
        </p:nvSpPr>
        <p:spPr>
          <a:xfrm>
            <a:off x="62542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2" name="object 2002"/>
          <p:cNvSpPr/>
          <p:nvPr/>
        </p:nvSpPr>
        <p:spPr>
          <a:xfrm>
            <a:off x="625965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3" name="object 2003"/>
          <p:cNvSpPr/>
          <p:nvPr/>
        </p:nvSpPr>
        <p:spPr>
          <a:xfrm>
            <a:off x="62669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4" name="object 2004"/>
          <p:cNvSpPr/>
          <p:nvPr/>
        </p:nvSpPr>
        <p:spPr>
          <a:xfrm>
            <a:off x="627238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5" name="object 2005"/>
          <p:cNvSpPr/>
          <p:nvPr/>
        </p:nvSpPr>
        <p:spPr>
          <a:xfrm>
            <a:off x="627965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6" name="object 2006"/>
          <p:cNvSpPr/>
          <p:nvPr/>
        </p:nvSpPr>
        <p:spPr>
          <a:xfrm>
            <a:off x="628510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7" name="object 2007"/>
          <p:cNvSpPr/>
          <p:nvPr/>
        </p:nvSpPr>
        <p:spPr>
          <a:xfrm>
            <a:off x="629237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8" name="object 2008"/>
          <p:cNvSpPr/>
          <p:nvPr/>
        </p:nvSpPr>
        <p:spPr>
          <a:xfrm>
            <a:off x="629783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09" name="object 2009"/>
          <p:cNvSpPr/>
          <p:nvPr/>
        </p:nvSpPr>
        <p:spPr>
          <a:xfrm>
            <a:off x="630510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0" name="object 2010"/>
          <p:cNvSpPr/>
          <p:nvPr/>
        </p:nvSpPr>
        <p:spPr>
          <a:xfrm>
            <a:off x="631055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1" name="object 2011"/>
          <p:cNvSpPr/>
          <p:nvPr/>
        </p:nvSpPr>
        <p:spPr>
          <a:xfrm>
            <a:off x="631782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2" name="object 2012"/>
          <p:cNvSpPr/>
          <p:nvPr/>
        </p:nvSpPr>
        <p:spPr>
          <a:xfrm>
            <a:off x="632328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3" name="object 2013"/>
          <p:cNvSpPr/>
          <p:nvPr/>
        </p:nvSpPr>
        <p:spPr>
          <a:xfrm>
            <a:off x="633055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4" name="object 2014"/>
          <p:cNvSpPr/>
          <p:nvPr/>
        </p:nvSpPr>
        <p:spPr>
          <a:xfrm>
            <a:off x="633600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5" name="object 2015"/>
          <p:cNvSpPr/>
          <p:nvPr/>
        </p:nvSpPr>
        <p:spPr>
          <a:xfrm>
            <a:off x="634327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6" name="object 2016"/>
          <p:cNvSpPr/>
          <p:nvPr/>
        </p:nvSpPr>
        <p:spPr>
          <a:xfrm>
            <a:off x="634873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7" name="object 2017"/>
          <p:cNvSpPr/>
          <p:nvPr/>
        </p:nvSpPr>
        <p:spPr>
          <a:xfrm>
            <a:off x="63560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8" name="object 2018"/>
          <p:cNvSpPr/>
          <p:nvPr/>
        </p:nvSpPr>
        <p:spPr>
          <a:xfrm>
            <a:off x="636145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19" name="object 2019"/>
          <p:cNvSpPr/>
          <p:nvPr/>
        </p:nvSpPr>
        <p:spPr>
          <a:xfrm>
            <a:off x="63687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0" name="object 2020"/>
          <p:cNvSpPr/>
          <p:nvPr/>
        </p:nvSpPr>
        <p:spPr>
          <a:xfrm>
            <a:off x="637418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1" name="object 2021"/>
          <p:cNvSpPr/>
          <p:nvPr/>
        </p:nvSpPr>
        <p:spPr>
          <a:xfrm>
            <a:off x="63814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2" name="object 2022"/>
          <p:cNvSpPr/>
          <p:nvPr/>
        </p:nvSpPr>
        <p:spPr>
          <a:xfrm>
            <a:off x="638690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3" name="object 2023"/>
          <p:cNvSpPr/>
          <p:nvPr/>
        </p:nvSpPr>
        <p:spPr>
          <a:xfrm>
            <a:off x="63941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4" name="object 2024"/>
          <p:cNvSpPr/>
          <p:nvPr/>
        </p:nvSpPr>
        <p:spPr>
          <a:xfrm>
            <a:off x="6399633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5" name="object 2025"/>
          <p:cNvSpPr/>
          <p:nvPr/>
        </p:nvSpPr>
        <p:spPr>
          <a:xfrm>
            <a:off x="640690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6" name="object 2026"/>
          <p:cNvSpPr/>
          <p:nvPr/>
        </p:nvSpPr>
        <p:spPr>
          <a:xfrm>
            <a:off x="641235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7" name="object 2027"/>
          <p:cNvSpPr/>
          <p:nvPr/>
        </p:nvSpPr>
        <p:spPr>
          <a:xfrm>
            <a:off x="64196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8" name="object 2028"/>
          <p:cNvSpPr/>
          <p:nvPr/>
        </p:nvSpPr>
        <p:spPr>
          <a:xfrm>
            <a:off x="642508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29" name="object 2029"/>
          <p:cNvSpPr/>
          <p:nvPr/>
        </p:nvSpPr>
        <p:spPr>
          <a:xfrm>
            <a:off x="6432355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0" name="object 2030"/>
          <p:cNvSpPr/>
          <p:nvPr/>
        </p:nvSpPr>
        <p:spPr>
          <a:xfrm>
            <a:off x="6437809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1" name="object 2031"/>
          <p:cNvSpPr/>
          <p:nvPr/>
        </p:nvSpPr>
        <p:spPr>
          <a:xfrm>
            <a:off x="64450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2" name="object 2032"/>
          <p:cNvSpPr/>
          <p:nvPr/>
        </p:nvSpPr>
        <p:spPr>
          <a:xfrm>
            <a:off x="6450534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3" name="object 2033"/>
          <p:cNvSpPr/>
          <p:nvPr/>
        </p:nvSpPr>
        <p:spPr>
          <a:xfrm>
            <a:off x="64578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4" name="object 2034"/>
          <p:cNvSpPr/>
          <p:nvPr/>
        </p:nvSpPr>
        <p:spPr>
          <a:xfrm>
            <a:off x="6463258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5" name="object 2035"/>
          <p:cNvSpPr/>
          <p:nvPr/>
        </p:nvSpPr>
        <p:spPr>
          <a:xfrm>
            <a:off x="6470531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6" name="object 2036"/>
          <p:cNvSpPr/>
          <p:nvPr/>
        </p:nvSpPr>
        <p:spPr>
          <a:xfrm>
            <a:off x="647780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7" name="object 2037"/>
          <p:cNvSpPr/>
          <p:nvPr/>
        </p:nvSpPr>
        <p:spPr>
          <a:xfrm>
            <a:off x="6483257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8" name="object 2038"/>
          <p:cNvSpPr/>
          <p:nvPr/>
        </p:nvSpPr>
        <p:spPr>
          <a:xfrm>
            <a:off x="649052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39" name="object 2039"/>
          <p:cNvSpPr/>
          <p:nvPr/>
        </p:nvSpPr>
        <p:spPr>
          <a:xfrm>
            <a:off x="649598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0" name="object 2040"/>
          <p:cNvSpPr/>
          <p:nvPr/>
        </p:nvSpPr>
        <p:spPr>
          <a:xfrm>
            <a:off x="6503252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1" name="object 2041"/>
          <p:cNvSpPr/>
          <p:nvPr/>
        </p:nvSpPr>
        <p:spPr>
          <a:xfrm>
            <a:off x="65087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2" name="object 2042"/>
          <p:cNvSpPr/>
          <p:nvPr/>
        </p:nvSpPr>
        <p:spPr>
          <a:xfrm>
            <a:off x="6515979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3" name="object 2043"/>
          <p:cNvSpPr/>
          <p:nvPr/>
        </p:nvSpPr>
        <p:spPr>
          <a:xfrm>
            <a:off x="6521430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4" name="object 2044"/>
          <p:cNvSpPr/>
          <p:nvPr/>
        </p:nvSpPr>
        <p:spPr>
          <a:xfrm>
            <a:off x="6528703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5" name="object 2045"/>
          <p:cNvSpPr/>
          <p:nvPr/>
        </p:nvSpPr>
        <p:spPr>
          <a:xfrm>
            <a:off x="653415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6" name="object 2046"/>
          <p:cNvSpPr/>
          <p:nvPr/>
        </p:nvSpPr>
        <p:spPr>
          <a:xfrm>
            <a:off x="654142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7" name="object 2047"/>
          <p:cNvSpPr/>
          <p:nvPr/>
        </p:nvSpPr>
        <p:spPr>
          <a:xfrm>
            <a:off x="654688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8" name="object 2048"/>
          <p:cNvSpPr/>
          <p:nvPr/>
        </p:nvSpPr>
        <p:spPr>
          <a:xfrm>
            <a:off x="655415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49" name="object 2049"/>
          <p:cNvSpPr/>
          <p:nvPr/>
        </p:nvSpPr>
        <p:spPr>
          <a:xfrm>
            <a:off x="6559606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0" name="object 2050"/>
          <p:cNvSpPr/>
          <p:nvPr/>
        </p:nvSpPr>
        <p:spPr>
          <a:xfrm>
            <a:off x="656687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1" name="object 2051"/>
          <p:cNvSpPr/>
          <p:nvPr/>
        </p:nvSpPr>
        <p:spPr>
          <a:xfrm>
            <a:off x="6572332" y="3987131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2" name="object 2052"/>
          <p:cNvSpPr/>
          <p:nvPr/>
        </p:nvSpPr>
        <p:spPr>
          <a:xfrm>
            <a:off x="6579604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3" name="object 2053"/>
          <p:cNvSpPr/>
          <p:nvPr/>
        </p:nvSpPr>
        <p:spPr>
          <a:xfrm>
            <a:off x="6585058" y="3987131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4" name="object 2054"/>
          <p:cNvSpPr/>
          <p:nvPr/>
        </p:nvSpPr>
        <p:spPr>
          <a:xfrm>
            <a:off x="44872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5" name="object 2055"/>
          <p:cNvSpPr/>
          <p:nvPr/>
        </p:nvSpPr>
        <p:spPr>
          <a:xfrm>
            <a:off x="449450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6" name="object 2056"/>
          <p:cNvSpPr/>
          <p:nvPr/>
        </p:nvSpPr>
        <p:spPr>
          <a:xfrm>
            <a:off x="449995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7" name="object 2057"/>
          <p:cNvSpPr/>
          <p:nvPr/>
        </p:nvSpPr>
        <p:spPr>
          <a:xfrm>
            <a:off x="450722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8" name="object 2058"/>
          <p:cNvSpPr/>
          <p:nvPr/>
        </p:nvSpPr>
        <p:spPr>
          <a:xfrm>
            <a:off x="451267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59" name="object 2059"/>
          <p:cNvSpPr/>
          <p:nvPr/>
        </p:nvSpPr>
        <p:spPr>
          <a:xfrm>
            <a:off x="451994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0" name="object 2060"/>
          <p:cNvSpPr/>
          <p:nvPr/>
        </p:nvSpPr>
        <p:spPr>
          <a:xfrm>
            <a:off x="45254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1" name="object 2061"/>
          <p:cNvSpPr/>
          <p:nvPr/>
        </p:nvSpPr>
        <p:spPr>
          <a:xfrm>
            <a:off x="453267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2" name="object 2062"/>
          <p:cNvSpPr/>
          <p:nvPr/>
        </p:nvSpPr>
        <p:spPr>
          <a:xfrm>
            <a:off x="45381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3" name="object 2063"/>
          <p:cNvSpPr/>
          <p:nvPr/>
        </p:nvSpPr>
        <p:spPr>
          <a:xfrm>
            <a:off x="454539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4" name="object 2064"/>
          <p:cNvSpPr/>
          <p:nvPr/>
        </p:nvSpPr>
        <p:spPr>
          <a:xfrm>
            <a:off x="45508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5" name="object 2065"/>
          <p:cNvSpPr/>
          <p:nvPr/>
        </p:nvSpPr>
        <p:spPr>
          <a:xfrm>
            <a:off x="455812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6" name="object 2066"/>
          <p:cNvSpPr/>
          <p:nvPr/>
        </p:nvSpPr>
        <p:spPr>
          <a:xfrm>
            <a:off x="45635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7" name="object 2067"/>
          <p:cNvSpPr/>
          <p:nvPr/>
        </p:nvSpPr>
        <p:spPr>
          <a:xfrm>
            <a:off x="457084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8" name="object 2068"/>
          <p:cNvSpPr/>
          <p:nvPr/>
        </p:nvSpPr>
        <p:spPr>
          <a:xfrm>
            <a:off x="45763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69" name="object 2069"/>
          <p:cNvSpPr/>
          <p:nvPr/>
        </p:nvSpPr>
        <p:spPr>
          <a:xfrm>
            <a:off x="458357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0" name="object 2070"/>
          <p:cNvSpPr/>
          <p:nvPr/>
        </p:nvSpPr>
        <p:spPr>
          <a:xfrm>
            <a:off x="45890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1" name="object 2071"/>
          <p:cNvSpPr/>
          <p:nvPr/>
        </p:nvSpPr>
        <p:spPr>
          <a:xfrm>
            <a:off x="45963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2" name="object 2072"/>
          <p:cNvSpPr/>
          <p:nvPr/>
        </p:nvSpPr>
        <p:spPr>
          <a:xfrm>
            <a:off x="46017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3" name="object 2073"/>
          <p:cNvSpPr/>
          <p:nvPr/>
        </p:nvSpPr>
        <p:spPr>
          <a:xfrm>
            <a:off x="460902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4" name="object 2074"/>
          <p:cNvSpPr/>
          <p:nvPr/>
        </p:nvSpPr>
        <p:spPr>
          <a:xfrm>
            <a:off x="46144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5" name="object 2075"/>
          <p:cNvSpPr/>
          <p:nvPr/>
        </p:nvSpPr>
        <p:spPr>
          <a:xfrm>
            <a:off x="462174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6" name="object 2076"/>
          <p:cNvSpPr/>
          <p:nvPr/>
        </p:nvSpPr>
        <p:spPr>
          <a:xfrm>
            <a:off x="46272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7" name="object 2077"/>
          <p:cNvSpPr/>
          <p:nvPr/>
        </p:nvSpPr>
        <p:spPr>
          <a:xfrm>
            <a:off x="463447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8" name="object 2078"/>
          <p:cNvSpPr/>
          <p:nvPr/>
        </p:nvSpPr>
        <p:spPr>
          <a:xfrm>
            <a:off x="46399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79" name="object 2079"/>
          <p:cNvSpPr/>
          <p:nvPr/>
        </p:nvSpPr>
        <p:spPr>
          <a:xfrm>
            <a:off x="464720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0" name="object 2080"/>
          <p:cNvSpPr/>
          <p:nvPr/>
        </p:nvSpPr>
        <p:spPr>
          <a:xfrm>
            <a:off x="46526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1" name="object 2081"/>
          <p:cNvSpPr/>
          <p:nvPr/>
        </p:nvSpPr>
        <p:spPr>
          <a:xfrm>
            <a:off x="465992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2" name="object 2082"/>
          <p:cNvSpPr/>
          <p:nvPr/>
        </p:nvSpPr>
        <p:spPr>
          <a:xfrm>
            <a:off x="46653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3" name="object 2083"/>
          <p:cNvSpPr/>
          <p:nvPr/>
        </p:nvSpPr>
        <p:spPr>
          <a:xfrm>
            <a:off x="467265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4" name="object 2084"/>
          <p:cNvSpPr/>
          <p:nvPr/>
        </p:nvSpPr>
        <p:spPr>
          <a:xfrm>
            <a:off x="46781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5" name="object 2085"/>
          <p:cNvSpPr/>
          <p:nvPr/>
        </p:nvSpPr>
        <p:spPr>
          <a:xfrm>
            <a:off x="468537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6" name="object 2086"/>
          <p:cNvSpPr/>
          <p:nvPr/>
        </p:nvSpPr>
        <p:spPr>
          <a:xfrm>
            <a:off x="46908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7" name="object 2087"/>
          <p:cNvSpPr/>
          <p:nvPr/>
        </p:nvSpPr>
        <p:spPr>
          <a:xfrm>
            <a:off x="46981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8" name="object 2088"/>
          <p:cNvSpPr/>
          <p:nvPr/>
        </p:nvSpPr>
        <p:spPr>
          <a:xfrm>
            <a:off x="47035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89" name="object 2089"/>
          <p:cNvSpPr/>
          <p:nvPr/>
        </p:nvSpPr>
        <p:spPr>
          <a:xfrm>
            <a:off x="47108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0" name="object 2090"/>
          <p:cNvSpPr/>
          <p:nvPr/>
        </p:nvSpPr>
        <p:spPr>
          <a:xfrm>
            <a:off x="47162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1" name="object 2091"/>
          <p:cNvSpPr/>
          <p:nvPr/>
        </p:nvSpPr>
        <p:spPr>
          <a:xfrm>
            <a:off x="472355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2" name="object 2092"/>
          <p:cNvSpPr/>
          <p:nvPr/>
        </p:nvSpPr>
        <p:spPr>
          <a:xfrm>
            <a:off x="47290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3" name="object 2093"/>
          <p:cNvSpPr/>
          <p:nvPr/>
        </p:nvSpPr>
        <p:spPr>
          <a:xfrm>
            <a:off x="473627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4" name="object 2094"/>
          <p:cNvSpPr/>
          <p:nvPr/>
        </p:nvSpPr>
        <p:spPr>
          <a:xfrm>
            <a:off x="474354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5" name="object 2095"/>
          <p:cNvSpPr/>
          <p:nvPr/>
        </p:nvSpPr>
        <p:spPr>
          <a:xfrm>
            <a:off x="47490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6" name="object 2096"/>
          <p:cNvSpPr/>
          <p:nvPr/>
        </p:nvSpPr>
        <p:spPr>
          <a:xfrm>
            <a:off x="475627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7" name="object 2097"/>
          <p:cNvSpPr/>
          <p:nvPr/>
        </p:nvSpPr>
        <p:spPr>
          <a:xfrm>
            <a:off x="476172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8" name="object 2098"/>
          <p:cNvSpPr/>
          <p:nvPr/>
        </p:nvSpPr>
        <p:spPr>
          <a:xfrm>
            <a:off x="476899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099" name="object 2099"/>
          <p:cNvSpPr/>
          <p:nvPr/>
        </p:nvSpPr>
        <p:spPr>
          <a:xfrm>
            <a:off x="477445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0" name="object 2100"/>
          <p:cNvSpPr/>
          <p:nvPr/>
        </p:nvSpPr>
        <p:spPr>
          <a:xfrm>
            <a:off x="478172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1" name="object 2101"/>
          <p:cNvSpPr/>
          <p:nvPr/>
        </p:nvSpPr>
        <p:spPr>
          <a:xfrm>
            <a:off x="478717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2" name="object 2102"/>
          <p:cNvSpPr/>
          <p:nvPr/>
        </p:nvSpPr>
        <p:spPr>
          <a:xfrm>
            <a:off x="479444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3" name="object 2103"/>
          <p:cNvSpPr/>
          <p:nvPr/>
        </p:nvSpPr>
        <p:spPr>
          <a:xfrm>
            <a:off x="47999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4" name="object 2104"/>
          <p:cNvSpPr/>
          <p:nvPr/>
        </p:nvSpPr>
        <p:spPr>
          <a:xfrm>
            <a:off x="480717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5" name="object 2105"/>
          <p:cNvSpPr/>
          <p:nvPr/>
        </p:nvSpPr>
        <p:spPr>
          <a:xfrm>
            <a:off x="48126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6" name="object 2106"/>
          <p:cNvSpPr/>
          <p:nvPr/>
        </p:nvSpPr>
        <p:spPr>
          <a:xfrm>
            <a:off x="481989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7" name="object 2107"/>
          <p:cNvSpPr/>
          <p:nvPr/>
        </p:nvSpPr>
        <p:spPr>
          <a:xfrm>
            <a:off x="482535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8" name="object 2108"/>
          <p:cNvSpPr/>
          <p:nvPr/>
        </p:nvSpPr>
        <p:spPr>
          <a:xfrm>
            <a:off x="483262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09" name="object 2109"/>
          <p:cNvSpPr/>
          <p:nvPr/>
        </p:nvSpPr>
        <p:spPr>
          <a:xfrm>
            <a:off x="483807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0" name="object 2110"/>
          <p:cNvSpPr/>
          <p:nvPr/>
        </p:nvSpPr>
        <p:spPr>
          <a:xfrm>
            <a:off x="484534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1" name="object 2111"/>
          <p:cNvSpPr/>
          <p:nvPr/>
        </p:nvSpPr>
        <p:spPr>
          <a:xfrm>
            <a:off x="48508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2" name="object 2112"/>
          <p:cNvSpPr/>
          <p:nvPr/>
        </p:nvSpPr>
        <p:spPr>
          <a:xfrm>
            <a:off x="485807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3" name="object 2113"/>
          <p:cNvSpPr/>
          <p:nvPr/>
        </p:nvSpPr>
        <p:spPr>
          <a:xfrm>
            <a:off x="48635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4" name="object 2114"/>
          <p:cNvSpPr/>
          <p:nvPr/>
        </p:nvSpPr>
        <p:spPr>
          <a:xfrm>
            <a:off x="487080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5" name="object 2115"/>
          <p:cNvSpPr/>
          <p:nvPr/>
        </p:nvSpPr>
        <p:spPr>
          <a:xfrm>
            <a:off x="487625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6" name="object 2116"/>
          <p:cNvSpPr/>
          <p:nvPr/>
        </p:nvSpPr>
        <p:spPr>
          <a:xfrm>
            <a:off x="488352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7" name="object 2117"/>
          <p:cNvSpPr/>
          <p:nvPr/>
        </p:nvSpPr>
        <p:spPr>
          <a:xfrm>
            <a:off x="48889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8" name="object 2118"/>
          <p:cNvSpPr/>
          <p:nvPr/>
        </p:nvSpPr>
        <p:spPr>
          <a:xfrm>
            <a:off x="489625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19" name="object 2119"/>
          <p:cNvSpPr/>
          <p:nvPr/>
        </p:nvSpPr>
        <p:spPr>
          <a:xfrm>
            <a:off x="49017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0" name="object 2120"/>
          <p:cNvSpPr/>
          <p:nvPr/>
        </p:nvSpPr>
        <p:spPr>
          <a:xfrm>
            <a:off x="490897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1" name="object 2121"/>
          <p:cNvSpPr/>
          <p:nvPr/>
        </p:nvSpPr>
        <p:spPr>
          <a:xfrm>
            <a:off x="49144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2" name="object 2122"/>
          <p:cNvSpPr/>
          <p:nvPr/>
        </p:nvSpPr>
        <p:spPr>
          <a:xfrm>
            <a:off x="492170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3" name="object 2123"/>
          <p:cNvSpPr/>
          <p:nvPr/>
        </p:nvSpPr>
        <p:spPr>
          <a:xfrm>
            <a:off x="49271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4" name="object 2124"/>
          <p:cNvSpPr/>
          <p:nvPr/>
        </p:nvSpPr>
        <p:spPr>
          <a:xfrm>
            <a:off x="493442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5" name="object 2125"/>
          <p:cNvSpPr/>
          <p:nvPr/>
        </p:nvSpPr>
        <p:spPr>
          <a:xfrm>
            <a:off x="49398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6" name="object 2126"/>
          <p:cNvSpPr/>
          <p:nvPr/>
        </p:nvSpPr>
        <p:spPr>
          <a:xfrm>
            <a:off x="4947151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7" name="object 2127"/>
          <p:cNvSpPr/>
          <p:nvPr/>
        </p:nvSpPr>
        <p:spPr>
          <a:xfrm>
            <a:off x="49526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8" name="object 2128"/>
          <p:cNvSpPr/>
          <p:nvPr/>
        </p:nvSpPr>
        <p:spPr>
          <a:xfrm>
            <a:off x="495987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29" name="object 2129"/>
          <p:cNvSpPr/>
          <p:nvPr/>
        </p:nvSpPr>
        <p:spPr>
          <a:xfrm>
            <a:off x="49653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0" name="object 2130"/>
          <p:cNvSpPr/>
          <p:nvPr/>
        </p:nvSpPr>
        <p:spPr>
          <a:xfrm>
            <a:off x="49726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1" name="object 2131"/>
          <p:cNvSpPr/>
          <p:nvPr/>
        </p:nvSpPr>
        <p:spPr>
          <a:xfrm>
            <a:off x="49780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2" name="object 2132"/>
          <p:cNvSpPr/>
          <p:nvPr/>
        </p:nvSpPr>
        <p:spPr>
          <a:xfrm>
            <a:off x="498532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3" name="object 2133"/>
          <p:cNvSpPr/>
          <p:nvPr/>
        </p:nvSpPr>
        <p:spPr>
          <a:xfrm>
            <a:off x="49907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4" name="object 2134"/>
          <p:cNvSpPr/>
          <p:nvPr/>
        </p:nvSpPr>
        <p:spPr>
          <a:xfrm>
            <a:off x="499805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5" name="object 2135"/>
          <p:cNvSpPr/>
          <p:nvPr/>
        </p:nvSpPr>
        <p:spPr>
          <a:xfrm>
            <a:off x="50035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6" name="object 2136"/>
          <p:cNvSpPr/>
          <p:nvPr/>
        </p:nvSpPr>
        <p:spPr>
          <a:xfrm>
            <a:off x="501077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7" name="object 2137"/>
          <p:cNvSpPr/>
          <p:nvPr/>
        </p:nvSpPr>
        <p:spPr>
          <a:xfrm>
            <a:off x="50162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8" name="object 2138"/>
          <p:cNvSpPr/>
          <p:nvPr/>
        </p:nvSpPr>
        <p:spPr>
          <a:xfrm>
            <a:off x="502350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39" name="object 2139"/>
          <p:cNvSpPr/>
          <p:nvPr/>
        </p:nvSpPr>
        <p:spPr>
          <a:xfrm>
            <a:off x="50289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0" name="object 2140"/>
          <p:cNvSpPr/>
          <p:nvPr/>
        </p:nvSpPr>
        <p:spPr>
          <a:xfrm>
            <a:off x="503622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1" name="object 2141"/>
          <p:cNvSpPr/>
          <p:nvPr/>
        </p:nvSpPr>
        <p:spPr>
          <a:xfrm>
            <a:off x="50416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2" name="object 2142"/>
          <p:cNvSpPr/>
          <p:nvPr/>
        </p:nvSpPr>
        <p:spPr>
          <a:xfrm>
            <a:off x="504895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3" name="object 2143"/>
          <p:cNvSpPr/>
          <p:nvPr/>
        </p:nvSpPr>
        <p:spPr>
          <a:xfrm>
            <a:off x="50544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4" name="object 2144"/>
          <p:cNvSpPr/>
          <p:nvPr/>
        </p:nvSpPr>
        <p:spPr>
          <a:xfrm>
            <a:off x="506167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5" name="object 2145"/>
          <p:cNvSpPr/>
          <p:nvPr/>
        </p:nvSpPr>
        <p:spPr>
          <a:xfrm>
            <a:off x="50671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6" name="object 2146"/>
          <p:cNvSpPr/>
          <p:nvPr/>
        </p:nvSpPr>
        <p:spPr>
          <a:xfrm>
            <a:off x="50744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7" name="object 2147"/>
          <p:cNvSpPr/>
          <p:nvPr/>
        </p:nvSpPr>
        <p:spPr>
          <a:xfrm>
            <a:off x="50798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8" name="object 2148"/>
          <p:cNvSpPr/>
          <p:nvPr/>
        </p:nvSpPr>
        <p:spPr>
          <a:xfrm>
            <a:off x="508712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49" name="object 2149"/>
          <p:cNvSpPr/>
          <p:nvPr/>
        </p:nvSpPr>
        <p:spPr>
          <a:xfrm>
            <a:off x="50925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0" name="object 2150"/>
          <p:cNvSpPr/>
          <p:nvPr/>
        </p:nvSpPr>
        <p:spPr>
          <a:xfrm>
            <a:off x="509985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1" name="object 2151"/>
          <p:cNvSpPr/>
          <p:nvPr/>
        </p:nvSpPr>
        <p:spPr>
          <a:xfrm>
            <a:off x="51053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2" name="object 2152"/>
          <p:cNvSpPr/>
          <p:nvPr/>
        </p:nvSpPr>
        <p:spPr>
          <a:xfrm>
            <a:off x="511257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3" name="object 2153"/>
          <p:cNvSpPr/>
          <p:nvPr/>
        </p:nvSpPr>
        <p:spPr>
          <a:xfrm>
            <a:off x="51180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4" name="object 2154"/>
          <p:cNvSpPr/>
          <p:nvPr/>
        </p:nvSpPr>
        <p:spPr>
          <a:xfrm>
            <a:off x="51253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5" name="object 2155"/>
          <p:cNvSpPr/>
          <p:nvPr/>
        </p:nvSpPr>
        <p:spPr>
          <a:xfrm>
            <a:off x="51307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6" name="object 2156"/>
          <p:cNvSpPr/>
          <p:nvPr/>
        </p:nvSpPr>
        <p:spPr>
          <a:xfrm>
            <a:off x="51380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7" name="object 2157"/>
          <p:cNvSpPr/>
          <p:nvPr/>
        </p:nvSpPr>
        <p:spPr>
          <a:xfrm>
            <a:off x="51434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8" name="object 2158"/>
          <p:cNvSpPr/>
          <p:nvPr/>
        </p:nvSpPr>
        <p:spPr>
          <a:xfrm>
            <a:off x="515075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59" name="object 2159"/>
          <p:cNvSpPr/>
          <p:nvPr/>
        </p:nvSpPr>
        <p:spPr>
          <a:xfrm>
            <a:off x="51562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0" name="object 2160"/>
          <p:cNvSpPr/>
          <p:nvPr/>
        </p:nvSpPr>
        <p:spPr>
          <a:xfrm>
            <a:off x="51634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1" name="object 2161"/>
          <p:cNvSpPr/>
          <p:nvPr/>
        </p:nvSpPr>
        <p:spPr>
          <a:xfrm>
            <a:off x="51689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2" name="object 2162"/>
          <p:cNvSpPr/>
          <p:nvPr/>
        </p:nvSpPr>
        <p:spPr>
          <a:xfrm>
            <a:off x="51762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3" name="object 2163"/>
          <p:cNvSpPr/>
          <p:nvPr/>
        </p:nvSpPr>
        <p:spPr>
          <a:xfrm>
            <a:off x="518347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4" name="object 2164"/>
          <p:cNvSpPr/>
          <p:nvPr/>
        </p:nvSpPr>
        <p:spPr>
          <a:xfrm>
            <a:off x="51889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5" name="object 2165"/>
          <p:cNvSpPr/>
          <p:nvPr/>
        </p:nvSpPr>
        <p:spPr>
          <a:xfrm>
            <a:off x="519619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6" name="object 2166"/>
          <p:cNvSpPr/>
          <p:nvPr/>
        </p:nvSpPr>
        <p:spPr>
          <a:xfrm>
            <a:off x="52016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7" name="object 2167"/>
          <p:cNvSpPr/>
          <p:nvPr/>
        </p:nvSpPr>
        <p:spPr>
          <a:xfrm>
            <a:off x="5208926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8" name="object 2168"/>
          <p:cNvSpPr/>
          <p:nvPr/>
        </p:nvSpPr>
        <p:spPr>
          <a:xfrm>
            <a:off x="521437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69" name="object 2169"/>
          <p:cNvSpPr/>
          <p:nvPr/>
        </p:nvSpPr>
        <p:spPr>
          <a:xfrm>
            <a:off x="522165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0" name="object 2170"/>
          <p:cNvSpPr/>
          <p:nvPr/>
        </p:nvSpPr>
        <p:spPr>
          <a:xfrm>
            <a:off x="52271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1" name="object 2171"/>
          <p:cNvSpPr/>
          <p:nvPr/>
        </p:nvSpPr>
        <p:spPr>
          <a:xfrm>
            <a:off x="523437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2" name="object 2172"/>
          <p:cNvSpPr/>
          <p:nvPr/>
        </p:nvSpPr>
        <p:spPr>
          <a:xfrm>
            <a:off x="52398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3" name="object 2173"/>
          <p:cNvSpPr/>
          <p:nvPr/>
        </p:nvSpPr>
        <p:spPr>
          <a:xfrm>
            <a:off x="524709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4" name="object 2174"/>
          <p:cNvSpPr/>
          <p:nvPr/>
        </p:nvSpPr>
        <p:spPr>
          <a:xfrm>
            <a:off x="52525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5" name="object 2175"/>
          <p:cNvSpPr/>
          <p:nvPr/>
        </p:nvSpPr>
        <p:spPr>
          <a:xfrm>
            <a:off x="525982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6" name="object 2176"/>
          <p:cNvSpPr/>
          <p:nvPr/>
        </p:nvSpPr>
        <p:spPr>
          <a:xfrm>
            <a:off x="526527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7" name="object 2177"/>
          <p:cNvSpPr/>
          <p:nvPr/>
        </p:nvSpPr>
        <p:spPr>
          <a:xfrm>
            <a:off x="527255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8" name="object 2178"/>
          <p:cNvSpPr/>
          <p:nvPr/>
        </p:nvSpPr>
        <p:spPr>
          <a:xfrm>
            <a:off x="52780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79" name="object 2179"/>
          <p:cNvSpPr/>
          <p:nvPr/>
        </p:nvSpPr>
        <p:spPr>
          <a:xfrm>
            <a:off x="528527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0" name="object 2180"/>
          <p:cNvSpPr/>
          <p:nvPr/>
        </p:nvSpPr>
        <p:spPr>
          <a:xfrm>
            <a:off x="52907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1" name="object 2181"/>
          <p:cNvSpPr/>
          <p:nvPr/>
        </p:nvSpPr>
        <p:spPr>
          <a:xfrm>
            <a:off x="5298001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2" name="object 2182"/>
          <p:cNvSpPr/>
          <p:nvPr/>
        </p:nvSpPr>
        <p:spPr>
          <a:xfrm>
            <a:off x="53034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3" name="object 2183"/>
          <p:cNvSpPr/>
          <p:nvPr/>
        </p:nvSpPr>
        <p:spPr>
          <a:xfrm>
            <a:off x="531072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4" name="object 2184"/>
          <p:cNvSpPr/>
          <p:nvPr/>
        </p:nvSpPr>
        <p:spPr>
          <a:xfrm>
            <a:off x="53161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5" name="object 2185"/>
          <p:cNvSpPr/>
          <p:nvPr/>
        </p:nvSpPr>
        <p:spPr>
          <a:xfrm>
            <a:off x="532345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6" name="object 2186"/>
          <p:cNvSpPr/>
          <p:nvPr/>
        </p:nvSpPr>
        <p:spPr>
          <a:xfrm>
            <a:off x="53289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7" name="object 2187"/>
          <p:cNvSpPr/>
          <p:nvPr/>
        </p:nvSpPr>
        <p:spPr>
          <a:xfrm>
            <a:off x="5336176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8" name="object 2188"/>
          <p:cNvSpPr/>
          <p:nvPr/>
        </p:nvSpPr>
        <p:spPr>
          <a:xfrm>
            <a:off x="53416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89" name="object 2189"/>
          <p:cNvSpPr/>
          <p:nvPr/>
        </p:nvSpPr>
        <p:spPr>
          <a:xfrm>
            <a:off x="5348901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0" name="object 2190"/>
          <p:cNvSpPr/>
          <p:nvPr/>
        </p:nvSpPr>
        <p:spPr>
          <a:xfrm>
            <a:off x="53543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1" name="object 2191"/>
          <p:cNvSpPr/>
          <p:nvPr/>
        </p:nvSpPr>
        <p:spPr>
          <a:xfrm>
            <a:off x="536162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2" name="object 2192"/>
          <p:cNvSpPr/>
          <p:nvPr/>
        </p:nvSpPr>
        <p:spPr>
          <a:xfrm>
            <a:off x="53670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3" name="object 2193"/>
          <p:cNvSpPr/>
          <p:nvPr/>
        </p:nvSpPr>
        <p:spPr>
          <a:xfrm>
            <a:off x="5374351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4" name="object 2194"/>
          <p:cNvSpPr/>
          <p:nvPr/>
        </p:nvSpPr>
        <p:spPr>
          <a:xfrm>
            <a:off x="53798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5" name="object 2195"/>
          <p:cNvSpPr/>
          <p:nvPr/>
        </p:nvSpPr>
        <p:spPr>
          <a:xfrm>
            <a:off x="538707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6" name="object 2196"/>
          <p:cNvSpPr/>
          <p:nvPr/>
        </p:nvSpPr>
        <p:spPr>
          <a:xfrm>
            <a:off x="53925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7" name="object 2197"/>
          <p:cNvSpPr/>
          <p:nvPr/>
        </p:nvSpPr>
        <p:spPr>
          <a:xfrm>
            <a:off x="53998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8" name="object 2198"/>
          <p:cNvSpPr/>
          <p:nvPr/>
        </p:nvSpPr>
        <p:spPr>
          <a:xfrm>
            <a:off x="54052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199" name="object 2199"/>
          <p:cNvSpPr/>
          <p:nvPr/>
        </p:nvSpPr>
        <p:spPr>
          <a:xfrm>
            <a:off x="541252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0" name="object 2200"/>
          <p:cNvSpPr/>
          <p:nvPr/>
        </p:nvSpPr>
        <p:spPr>
          <a:xfrm>
            <a:off x="54179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1" name="object 2201"/>
          <p:cNvSpPr/>
          <p:nvPr/>
        </p:nvSpPr>
        <p:spPr>
          <a:xfrm>
            <a:off x="54252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2" name="object 2202"/>
          <p:cNvSpPr/>
          <p:nvPr/>
        </p:nvSpPr>
        <p:spPr>
          <a:xfrm>
            <a:off x="54307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3" name="object 2203"/>
          <p:cNvSpPr/>
          <p:nvPr/>
        </p:nvSpPr>
        <p:spPr>
          <a:xfrm>
            <a:off x="543797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4" name="object 2204"/>
          <p:cNvSpPr/>
          <p:nvPr/>
        </p:nvSpPr>
        <p:spPr>
          <a:xfrm>
            <a:off x="54434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5" name="object 2205"/>
          <p:cNvSpPr/>
          <p:nvPr/>
        </p:nvSpPr>
        <p:spPr>
          <a:xfrm>
            <a:off x="545070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6" name="object 2206"/>
          <p:cNvSpPr/>
          <p:nvPr/>
        </p:nvSpPr>
        <p:spPr>
          <a:xfrm>
            <a:off x="54561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7" name="object 2207"/>
          <p:cNvSpPr/>
          <p:nvPr/>
        </p:nvSpPr>
        <p:spPr>
          <a:xfrm>
            <a:off x="54634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8" name="object 2208"/>
          <p:cNvSpPr/>
          <p:nvPr/>
        </p:nvSpPr>
        <p:spPr>
          <a:xfrm>
            <a:off x="54688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09" name="object 2209"/>
          <p:cNvSpPr/>
          <p:nvPr/>
        </p:nvSpPr>
        <p:spPr>
          <a:xfrm>
            <a:off x="547615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0" name="object 2210"/>
          <p:cNvSpPr/>
          <p:nvPr/>
        </p:nvSpPr>
        <p:spPr>
          <a:xfrm>
            <a:off x="548160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1" name="object 2211"/>
          <p:cNvSpPr/>
          <p:nvPr/>
        </p:nvSpPr>
        <p:spPr>
          <a:xfrm>
            <a:off x="548887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2" name="object 2212"/>
          <p:cNvSpPr/>
          <p:nvPr/>
        </p:nvSpPr>
        <p:spPr>
          <a:xfrm>
            <a:off x="54943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3" name="object 2213"/>
          <p:cNvSpPr/>
          <p:nvPr/>
        </p:nvSpPr>
        <p:spPr>
          <a:xfrm>
            <a:off x="55016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4" name="object 2214"/>
          <p:cNvSpPr/>
          <p:nvPr/>
        </p:nvSpPr>
        <p:spPr>
          <a:xfrm>
            <a:off x="55070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5" name="object 2215"/>
          <p:cNvSpPr/>
          <p:nvPr/>
        </p:nvSpPr>
        <p:spPr>
          <a:xfrm>
            <a:off x="551432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6" name="object 2216"/>
          <p:cNvSpPr/>
          <p:nvPr/>
        </p:nvSpPr>
        <p:spPr>
          <a:xfrm>
            <a:off x="55197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7" name="object 2217"/>
          <p:cNvSpPr/>
          <p:nvPr/>
        </p:nvSpPr>
        <p:spPr>
          <a:xfrm>
            <a:off x="55270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8" name="object 2218"/>
          <p:cNvSpPr/>
          <p:nvPr/>
        </p:nvSpPr>
        <p:spPr>
          <a:xfrm>
            <a:off x="55325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19" name="object 2219"/>
          <p:cNvSpPr/>
          <p:nvPr/>
        </p:nvSpPr>
        <p:spPr>
          <a:xfrm>
            <a:off x="55397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0" name="object 2220"/>
          <p:cNvSpPr/>
          <p:nvPr/>
        </p:nvSpPr>
        <p:spPr>
          <a:xfrm>
            <a:off x="55452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1" name="object 2221"/>
          <p:cNvSpPr/>
          <p:nvPr/>
        </p:nvSpPr>
        <p:spPr>
          <a:xfrm>
            <a:off x="55525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2" name="object 2222"/>
          <p:cNvSpPr/>
          <p:nvPr/>
        </p:nvSpPr>
        <p:spPr>
          <a:xfrm>
            <a:off x="55579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3" name="object 2223"/>
          <p:cNvSpPr/>
          <p:nvPr/>
        </p:nvSpPr>
        <p:spPr>
          <a:xfrm>
            <a:off x="55652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4" name="object 2224"/>
          <p:cNvSpPr/>
          <p:nvPr/>
        </p:nvSpPr>
        <p:spPr>
          <a:xfrm>
            <a:off x="55706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5" name="object 2225"/>
          <p:cNvSpPr/>
          <p:nvPr/>
        </p:nvSpPr>
        <p:spPr>
          <a:xfrm>
            <a:off x="55779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6" name="object 2226"/>
          <p:cNvSpPr/>
          <p:nvPr/>
        </p:nvSpPr>
        <p:spPr>
          <a:xfrm>
            <a:off x="55834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7" name="object 2227"/>
          <p:cNvSpPr/>
          <p:nvPr/>
        </p:nvSpPr>
        <p:spPr>
          <a:xfrm>
            <a:off x="55906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8" name="object 2228"/>
          <p:cNvSpPr/>
          <p:nvPr/>
        </p:nvSpPr>
        <p:spPr>
          <a:xfrm>
            <a:off x="559613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29" name="object 2229"/>
          <p:cNvSpPr/>
          <p:nvPr/>
        </p:nvSpPr>
        <p:spPr>
          <a:xfrm>
            <a:off x="56034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0" name="object 2230"/>
          <p:cNvSpPr/>
          <p:nvPr/>
        </p:nvSpPr>
        <p:spPr>
          <a:xfrm>
            <a:off x="561067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1" name="object 2231"/>
          <p:cNvSpPr/>
          <p:nvPr/>
        </p:nvSpPr>
        <p:spPr>
          <a:xfrm>
            <a:off x="56161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2" name="object 2232"/>
          <p:cNvSpPr/>
          <p:nvPr/>
        </p:nvSpPr>
        <p:spPr>
          <a:xfrm>
            <a:off x="562340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3" name="object 2233"/>
          <p:cNvSpPr/>
          <p:nvPr/>
        </p:nvSpPr>
        <p:spPr>
          <a:xfrm>
            <a:off x="56288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4" name="object 2234"/>
          <p:cNvSpPr/>
          <p:nvPr/>
        </p:nvSpPr>
        <p:spPr>
          <a:xfrm>
            <a:off x="5636125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5" name="object 2235"/>
          <p:cNvSpPr/>
          <p:nvPr/>
        </p:nvSpPr>
        <p:spPr>
          <a:xfrm>
            <a:off x="56415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6" name="object 2236"/>
          <p:cNvSpPr/>
          <p:nvPr/>
        </p:nvSpPr>
        <p:spPr>
          <a:xfrm>
            <a:off x="564885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7" name="object 2237"/>
          <p:cNvSpPr/>
          <p:nvPr/>
        </p:nvSpPr>
        <p:spPr>
          <a:xfrm>
            <a:off x="56543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8" name="object 2238"/>
          <p:cNvSpPr/>
          <p:nvPr/>
        </p:nvSpPr>
        <p:spPr>
          <a:xfrm>
            <a:off x="5661576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39" name="object 2239"/>
          <p:cNvSpPr/>
          <p:nvPr/>
        </p:nvSpPr>
        <p:spPr>
          <a:xfrm>
            <a:off x="56670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0" name="object 2240"/>
          <p:cNvSpPr/>
          <p:nvPr/>
        </p:nvSpPr>
        <p:spPr>
          <a:xfrm>
            <a:off x="5674300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1" name="object 2241"/>
          <p:cNvSpPr/>
          <p:nvPr/>
        </p:nvSpPr>
        <p:spPr>
          <a:xfrm>
            <a:off x="56797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2" name="object 2242"/>
          <p:cNvSpPr/>
          <p:nvPr/>
        </p:nvSpPr>
        <p:spPr>
          <a:xfrm>
            <a:off x="568702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3" name="object 2243"/>
          <p:cNvSpPr/>
          <p:nvPr/>
        </p:nvSpPr>
        <p:spPr>
          <a:xfrm>
            <a:off x="56924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4" name="object 2244"/>
          <p:cNvSpPr/>
          <p:nvPr/>
        </p:nvSpPr>
        <p:spPr>
          <a:xfrm>
            <a:off x="5699751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5" name="object 2245"/>
          <p:cNvSpPr/>
          <p:nvPr/>
        </p:nvSpPr>
        <p:spPr>
          <a:xfrm>
            <a:off x="57052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6" name="object 2246"/>
          <p:cNvSpPr/>
          <p:nvPr/>
        </p:nvSpPr>
        <p:spPr>
          <a:xfrm>
            <a:off x="5712476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7" name="object 2247"/>
          <p:cNvSpPr/>
          <p:nvPr/>
        </p:nvSpPr>
        <p:spPr>
          <a:xfrm>
            <a:off x="57179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8" name="object 2248"/>
          <p:cNvSpPr/>
          <p:nvPr/>
        </p:nvSpPr>
        <p:spPr>
          <a:xfrm>
            <a:off x="572520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49" name="object 2249"/>
          <p:cNvSpPr/>
          <p:nvPr/>
        </p:nvSpPr>
        <p:spPr>
          <a:xfrm>
            <a:off x="57306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0" name="object 2250"/>
          <p:cNvSpPr/>
          <p:nvPr/>
        </p:nvSpPr>
        <p:spPr>
          <a:xfrm>
            <a:off x="5737926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1" name="object 2251"/>
          <p:cNvSpPr/>
          <p:nvPr/>
        </p:nvSpPr>
        <p:spPr>
          <a:xfrm>
            <a:off x="57433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2" name="object 2252"/>
          <p:cNvSpPr/>
          <p:nvPr/>
        </p:nvSpPr>
        <p:spPr>
          <a:xfrm>
            <a:off x="575065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3" name="object 2253"/>
          <p:cNvSpPr/>
          <p:nvPr/>
        </p:nvSpPr>
        <p:spPr>
          <a:xfrm>
            <a:off x="57561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4" name="object 2254"/>
          <p:cNvSpPr/>
          <p:nvPr/>
        </p:nvSpPr>
        <p:spPr>
          <a:xfrm>
            <a:off x="5763376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5" name="object 2255"/>
          <p:cNvSpPr/>
          <p:nvPr/>
        </p:nvSpPr>
        <p:spPr>
          <a:xfrm>
            <a:off x="57688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6" name="object 2256"/>
          <p:cNvSpPr/>
          <p:nvPr/>
        </p:nvSpPr>
        <p:spPr>
          <a:xfrm>
            <a:off x="577610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7" name="object 2257"/>
          <p:cNvSpPr/>
          <p:nvPr/>
        </p:nvSpPr>
        <p:spPr>
          <a:xfrm>
            <a:off x="57815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8" name="object 2258"/>
          <p:cNvSpPr/>
          <p:nvPr/>
        </p:nvSpPr>
        <p:spPr>
          <a:xfrm>
            <a:off x="578882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59" name="object 2259"/>
          <p:cNvSpPr/>
          <p:nvPr/>
        </p:nvSpPr>
        <p:spPr>
          <a:xfrm>
            <a:off x="57942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0" name="object 2260"/>
          <p:cNvSpPr/>
          <p:nvPr/>
        </p:nvSpPr>
        <p:spPr>
          <a:xfrm>
            <a:off x="580155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1" name="object 2261"/>
          <p:cNvSpPr/>
          <p:nvPr/>
        </p:nvSpPr>
        <p:spPr>
          <a:xfrm>
            <a:off x="58070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2" name="object 2262"/>
          <p:cNvSpPr/>
          <p:nvPr/>
        </p:nvSpPr>
        <p:spPr>
          <a:xfrm>
            <a:off x="581427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3" name="object 2263"/>
          <p:cNvSpPr/>
          <p:nvPr/>
        </p:nvSpPr>
        <p:spPr>
          <a:xfrm>
            <a:off x="58197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4" name="object 2264"/>
          <p:cNvSpPr/>
          <p:nvPr/>
        </p:nvSpPr>
        <p:spPr>
          <a:xfrm>
            <a:off x="58270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5" name="object 2265"/>
          <p:cNvSpPr/>
          <p:nvPr/>
        </p:nvSpPr>
        <p:spPr>
          <a:xfrm>
            <a:off x="58324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6" name="object 2266"/>
          <p:cNvSpPr/>
          <p:nvPr/>
        </p:nvSpPr>
        <p:spPr>
          <a:xfrm>
            <a:off x="583972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7" name="object 2267"/>
          <p:cNvSpPr/>
          <p:nvPr/>
        </p:nvSpPr>
        <p:spPr>
          <a:xfrm>
            <a:off x="58451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8" name="object 2268"/>
          <p:cNvSpPr/>
          <p:nvPr/>
        </p:nvSpPr>
        <p:spPr>
          <a:xfrm>
            <a:off x="585245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69" name="object 2269"/>
          <p:cNvSpPr/>
          <p:nvPr/>
        </p:nvSpPr>
        <p:spPr>
          <a:xfrm>
            <a:off x="585790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0" name="object 2270"/>
          <p:cNvSpPr/>
          <p:nvPr/>
        </p:nvSpPr>
        <p:spPr>
          <a:xfrm>
            <a:off x="586517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1" name="object 2271"/>
          <p:cNvSpPr/>
          <p:nvPr/>
        </p:nvSpPr>
        <p:spPr>
          <a:xfrm>
            <a:off x="58706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2" name="object 2272"/>
          <p:cNvSpPr/>
          <p:nvPr/>
        </p:nvSpPr>
        <p:spPr>
          <a:xfrm>
            <a:off x="587790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3" name="object 2273"/>
          <p:cNvSpPr/>
          <p:nvPr/>
        </p:nvSpPr>
        <p:spPr>
          <a:xfrm>
            <a:off x="58833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4" name="object 2274"/>
          <p:cNvSpPr/>
          <p:nvPr/>
        </p:nvSpPr>
        <p:spPr>
          <a:xfrm>
            <a:off x="58906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5" name="object 2275"/>
          <p:cNvSpPr/>
          <p:nvPr/>
        </p:nvSpPr>
        <p:spPr>
          <a:xfrm>
            <a:off x="58960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6" name="object 2276"/>
          <p:cNvSpPr/>
          <p:nvPr/>
        </p:nvSpPr>
        <p:spPr>
          <a:xfrm>
            <a:off x="59033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7" name="object 2277"/>
          <p:cNvSpPr/>
          <p:nvPr/>
        </p:nvSpPr>
        <p:spPr>
          <a:xfrm>
            <a:off x="59088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8" name="object 2278"/>
          <p:cNvSpPr/>
          <p:nvPr/>
        </p:nvSpPr>
        <p:spPr>
          <a:xfrm>
            <a:off x="59160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79" name="object 2279"/>
          <p:cNvSpPr/>
          <p:nvPr/>
        </p:nvSpPr>
        <p:spPr>
          <a:xfrm>
            <a:off x="59215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0" name="object 2280"/>
          <p:cNvSpPr/>
          <p:nvPr/>
        </p:nvSpPr>
        <p:spPr>
          <a:xfrm>
            <a:off x="59288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1" name="object 2281"/>
          <p:cNvSpPr/>
          <p:nvPr/>
        </p:nvSpPr>
        <p:spPr>
          <a:xfrm>
            <a:off x="59342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2" name="object 2282"/>
          <p:cNvSpPr/>
          <p:nvPr/>
        </p:nvSpPr>
        <p:spPr>
          <a:xfrm>
            <a:off x="594152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3" name="object 2283"/>
          <p:cNvSpPr/>
          <p:nvPr/>
        </p:nvSpPr>
        <p:spPr>
          <a:xfrm>
            <a:off x="594698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4" name="object 2284"/>
          <p:cNvSpPr/>
          <p:nvPr/>
        </p:nvSpPr>
        <p:spPr>
          <a:xfrm>
            <a:off x="59542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5" name="object 2285"/>
          <p:cNvSpPr/>
          <p:nvPr/>
        </p:nvSpPr>
        <p:spPr>
          <a:xfrm>
            <a:off x="595970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6" name="object 2286"/>
          <p:cNvSpPr/>
          <p:nvPr/>
        </p:nvSpPr>
        <p:spPr>
          <a:xfrm>
            <a:off x="59669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7" name="object 2287"/>
          <p:cNvSpPr/>
          <p:nvPr/>
        </p:nvSpPr>
        <p:spPr>
          <a:xfrm>
            <a:off x="597243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8" name="object 2288"/>
          <p:cNvSpPr/>
          <p:nvPr/>
        </p:nvSpPr>
        <p:spPr>
          <a:xfrm>
            <a:off x="59797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89" name="object 2289"/>
          <p:cNvSpPr/>
          <p:nvPr/>
        </p:nvSpPr>
        <p:spPr>
          <a:xfrm>
            <a:off x="598515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0" name="object 2290"/>
          <p:cNvSpPr/>
          <p:nvPr/>
        </p:nvSpPr>
        <p:spPr>
          <a:xfrm>
            <a:off x="59924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1" name="object 2291"/>
          <p:cNvSpPr/>
          <p:nvPr/>
        </p:nvSpPr>
        <p:spPr>
          <a:xfrm>
            <a:off x="599788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2" name="object 2292"/>
          <p:cNvSpPr/>
          <p:nvPr/>
        </p:nvSpPr>
        <p:spPr>
          <a:xfrm>
            <a:off x="60051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3" name="object 2293"/>
          <p:cNvSpPr/>
          <p:nvPr/>
        </p:nvSpPr>
        <p:spPr>
          <a:xfrm>
            <a:off x="601060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4" name="object 2294"/>
          <p:cNvSpPr/>
          <p:nvPr/>
        </p:nvSpPr>
        <p:spPr>
          <a:xfrm>
            <a:off x="60178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5" name="object 2295"/>
          <p:cNvSpPr/>
          <p:nvPr/>
        </p:nvSpPr>
        <p:spPr>
          <a:xfrm>
            <a:off x="602333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6" name="object 2296"/>
          <p:cNvSpPr/>
          <p:nvPr/>
        </p:nvSpPr>
        <p:spPr>
          <a:xfrm>
            <a:off x="60306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7" name="object 2297"/>
          <p:cNvSpPr/>
          <p:nvPr/>
        </p:nvSpPr>
        <p:spPr>
          <a:xfrm>
            <a:off x="603605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8" name="object 2298"/>
          <p:cNvSpPr/>
          <p:nvPr/>
        </p:nvSpPr>
        <p:spPr>
          <a:xfrm>
            <a:off x="60433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299" name="object 2299"/>
          <p:cNvSpPr/>
          <p:nvPr/>
        </p:nvSpPr>
        <p:spPr>
          <a:xfrm>
            <a:off x="605060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0" name="object 2300"/>
          <p:cNvSpPr/>
          <p:nvPr/>
        </p:nvSpPr>
        <p:spPr>
          <a:xfrm>
            <a:off x="60560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1" name="object 2301"/>
          <p:cNvSpPr/>
          <p:nvPr/>
        </p:nvSpPr>
        <p:spPr>
          <a:xfrm>
            <a:off x="606332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2" name="object 2302"/>
          <p:cNvSpPr/>
          <p:nvPr/>
        </p:nvSpPr>
        <p:spPr>
          <a:xfrm>
            <a:off x="60687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3" name="object 2303"/>
          <p:cNvSpPr/>
          <p:nvPr/>
        </p:nvSpPr>
        <p:spPr>
          <a:xfrm>
            <a:off x="6076051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4" name="object 2304"/>
          <p:cNvSpPr/>
          <p:nvPr/>
        </p:nvSpPr>
        <p:spPr>
          <a:xfrm>
            <a:off x="60815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5" name="object 2305"/>
          <p:cNvSpPr/>
          <p:nvPr/>
        </p:nvSpPr>
        <p:spPr>
          <a:xfrm>
            <a:off x="608877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6" name="object 2306"/>
          <p:cNvSpPr/>
          <p:nvPr/>
        </p:nvSpPr>
        <p:spPr>
          <a:xfrm>
            <a:off x="60942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7" name="object 2307"/>
          <p:cNvSpPr/>
          <p:nvPr/>
        </p:nvSpPr>
        <p:spPr>
          <a:xfrm>
            <a:off x="610150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8" name="object 2308"/>
          <p:cNvSpPr/>
          <p:nvPr/>
        </p:nvSpPr>
        <p:spPr>
          <a:xfrm>
            <a:off x="61069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09" name="object 2309"/>
          <p:cNvSpPr/>
          <p:nvPr/>
        </p:nvSpPr>
        <p:spPr>
          <a:xfrm>
            <a:off x="611422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0" name="object 2310"/>
          <p:cNvSpPr/>
          <p:nvPr/>
        </p:nvSpPr>
        <p:spPr>
          <a:xfrm>
            <a:off x="61196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1" name="object 2311"/>
          <p:cNvSpPr/>
          <p:nvPr/>
        </p:nvSpPr>
        <p:spPr>
          <a:xfrm>
            <a:off x="612695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2" name="object 2312"/>
          <p:cNvSpPr/>
          <p:nvPr/>
        </p:nvSpPr>
        <p:spPr>
          <a:xfrm>
            <a:off x="61324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3" name="object 2313"/>
          <p:cNvSpPr/>
          <p:nvPr/>
        </p:nvSpPr>
        <p:spPr>
          <a:xfrm>
            <a:off x="613967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4" name="object 2314"/>
          <p:cNvSpPr/>
          <p:nvPr/>
        </p:nvSpPr>
        <p:spPr>
          <a:xfrm>
            <a:off x="61451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5" name="object 2315"/>
          <p:cNvSpPr/>
          <p:nvPr/>
        </p:nvSpPr>
        <p:spPr>
          <a:xfrm>
            <a:off x="615240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6" name="object 2316"/>
          <p:cNvSpPr/>
          <p:nvPr/>
        </p:nvSpPr>
        <p:spPr>
          <a:xfrm>
            <a:off x="61578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7" name="object 2317"/>
          <p:cNvSpPr/>
          <p:nvPr/>
        </p:nvSpPr>
        <p:spPr>
          <a:xfrm>
            <a:off x="616512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8" name="object 2318"/>
          <p:cNvSpPr/>
          <p:nvPr/>
        </p:nvSpPr>
        <p:spPr>
          <a:xfrm>
            <a:off x="61705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19" name="object 2319"/>
          <p:cNvSpPr/>
          <p:nvPr/>
        </p:nvSpPr>
        <p:spPr>
          <a:xfrm>
            <a:off x="617785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0" name="object 2320"/>
          <p:cNvSpPr/>
          <p:nvPr/>
        </p:nvSpPr>
        <p:spPr>
          <a:xfrm>
            <a:off x="618330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1" name="object 2321"/>
          <p:cNvSpPr/>
          <p:nvPr/>
        </p:nvSpPr>
        <p:spPr>
          <a:xfrm>
            <a:off x="619057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2" name="object 2322"/>
          <p:cNvSpPr/>
          <p:nvPr/>
        </p:nvSpPr>
        <p:spPr>
          <a:xfrm>
            <a:off x="61960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3" name="object 2323"/>
          <p:cNvSpPr/>
          <p:nvPr/>
        </p:nvSpPr>
        <p:spPr>
          <a:xfrm>
            <a:off x="620330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4" name="object 2324"/>
          <p:cNvSpPr/>
          <p:nvPr/>
        </p:nvSpPr>
        <p:spPr>
          <a:xfrm>
            <a:off x="62087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5" name="object 2325"/>
          <p:cNvSpPr/>
          <p:nvPr/>
        </p:nvSpPr>
        <p:spPr>
          <a:xfrm>
            <a:off x="6216027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6" name="object 2326"/>
          <p:cNvSpPr/>
          <p:nvPr/>
        </p:nvSpPr>
        <p:spPr>
          <a:xfrm>
            <a:off x="622148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7" name="object 2327"/>
          <p:cNvSpPr/>
          <p:nvPr/>
        </p:nvSpPr>
        <p:spPr>
          <a:xfrm>
            <a:off x="622875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8" name="object 2328"/>
          <p:cNvSpPr/>
          <p:nvPr/>
        </p:nvSpPr>
        <p:spPr>
          <a:xfrm>
            <a:off x="62342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29" name="object 2329"/>
          <p:cNvSpPr/>
          <p:nvPr/>
        </p:nvSpPr>
        <p:spPr>
          <a:xfrm>
            <a:off x="624147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0" name="object 2330"/>
          <p:cNvSpPr/>
          <p:nvPr/>
        </p:nvSpPr>
        <p:spPr>
          <a:xfrm>
            <a:off x="62469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1" name="object 2331"/>
          <p:cNvSpPr/>
          <p:nvPr/>
        </p:nvSpPr>
        <p:spPr>
          <a:xfrm>
            <a:off x="62542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2" name="object 2332"/>
          <p:cNvSpPr/>
          <p:nvPr/>
        </p:nvSpPr>
        <p:spPr>
          <a:xfrm>
            <a:off x="625965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3" name="object 2333"/>
          <p:cNvSpPr/>
          <p:nvPr/>
        </p:nvSpPr>
        <p:spPr>
          <a:xfrm>
            <a:off x="62669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4" name="object 2334"/>
          <p:cNvSpPr/>
          <p:nvPr/>
        </p:nvSpPr>
        <p:spPr>
          <a:xfrm>
            <a:off x="627238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5" name="object 2335"/>
          <p:cNvSpPr/>
          <p:nvPr/>
        </p:nvSpPr>
        <p:spPr>
          <a:xfrm>
            <a:off x="627965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6" name="object 2336"/>
          <p:cNvSpPr/>
          <p:nvPr/>
        </p:nvSpPr>
        <p:spPr>
          <a:xfrm>
            <a:off x="628510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7" name="object 2337"/>
          <p:cNvSpPr/>
          <p:nvPr/>
        </p:nvSpPr>
        <p:spPr>
          <a:xfrm>
            <a:off x="629237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8" name="object 2338"/>
          <p:cNvSpPr/>
          <p:nvPr/>
        </p:nvSpPr>
        <p:spPr>
          <a:xfrm>
            <a:off x="629783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39" name="object 2339"/>
          <p:cNvSpPr/>
          <p:nvPr/>
        </p:nvSpPr>
        <p:spPr>
          <a:xfrm>
            <a:off x="630510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0" name="object 2340"/>
          <p:cNvSpPr/>
          <p:nvPr/>
        </p:nvSpPr>
        <p:spPr>
          <a:xfrm>
            <a:off x="631055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1" name="object 2341"/>
          <p:cNvSpPr/>
          <p:nvPr/>
        </p:nvSpPr>
        <p:spPr>
          <a:xfrm>
            <a:off x="631782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2" name="object 2342"/>
          <p:cNvSpPr/>
          <p:nvPr/>
        </p:nvSpPr>
        <p:spPr>
          <a:xfrm>
            <a:off x="632328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3" name="object 2343"/>
          <p:cNvSpPr/>
          <p:nvPr/>
        </p:nvSpPr>
        <p:spPr>
          <a:xfrm>
            <a:off x="633055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4" name="object 2344"/>
          <p:cNvSpPr/>
          <p:nvPr/>
        </p:nvSpPr>
        <p:spPr>
          <a:xfrm>
            <a:off x="633600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5" name="object 2345"/>
          <p:cNvSpPr/>
          <p:nvPr/>
        </p:nvSpPr>
        <p:spPr>
          <a:xfrm>
            <a:off x="634327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6" name="object 2346"/>
          <p:cNvSpPr/>
          <p:nvPr/>
        </p:nvSpPr>
        <p:spPr>
          <a:xfrm>
            <a:off x="634873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7" name="object 2347"/>
          <p:cNvSpPr/>
          <p:nvPr/>
        </p:nvSpPr>
        <p:spPr>
          <a:xfrm>
            <a:off x="63560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8" name="object 2348"/>
          <p:cNvSpPr/>
          <p:nvPr/>
        </p:nvSpPr>
        <p:spPr>
          <a:xfrm>
            <a:off x="636145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49" name="object 2349"/>
          <p:cNvSpPr/>
          <p:nvPr/>
        </p:nvSpPr>
        <p:spPr>
          <a:xfrm>
            <a:off x="63687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0" name="object 2350"/>
          <p:cNvSpPr/>
          <p:nvPr/>
        </p:nvSpPr>
        <p:spPr>
          <a:xfrm>
            <a:off x="637418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1" name="object 2351"/>
          <p:cNvSpPr/>
          <p:nvPr/>
        </p:nvSpPr>
        <p:spPr>
          <a:xfrm>
            <a:off x="63814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2" name="object 2352"/>
          <p:cNvSpPr/>
          <p:nvPr/>
        </p:nvSpPr>
        <p:spPr>
          <a:xfrm>
            <a:off x="638690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3" name="object 2353"/>
          <p:cNvSpPr/>
          <p:nvPr/>
        </p:nvSpPr>
        <p:spPr>
          <a:xfrm>
            <a:off x="63941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4" name="object 2354"/>
          <p:cNvSpPr/>
          <p:nvPr/>
        </p:nvSpPr>
        <p:spPr>
          <a:xfrm>
            <a:off x="6399633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5" name="object 2355"/>
          <p:cNvSpPr/>
          <p:nvPr/>
        </p:nvSpPr>
        <p:spPr>
          <a:xfrm>
            <a:off x="640690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6" name="object 2356"/>
          <p:cNvSpPr/>
          <p:nvPr/>
        </p:nvSpPr>
        <p:spPr>
          <a:xfrm>
            <a:off x="641235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7" name="object 2357"/>
          <p:cNvSpPr/>
          <p:nvPr/>
        </p:nvSpPr>
        <p:spPr>
          <a:xfrm>
            <a:off x="64196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8" name="object 2358"/>
          <p:cNvSpPr/>
          <p:nvPr/>
        </p:nvSpPr>
        <p:spPr>
          <a:xfrm>
            <a:off x="642508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59" name="object 2359"/>
          <p:cNvSpPr/>
          <p:nvPr/>
        </p:nvSpPr>
        <p:spPr>
          <a:xfrm>
            <a:off x="6432355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0" name="object 2360"/>
          <p:cNvSpPr/>
          <p:nvPr/>
        </p:nvSpPr>
        <p:spPr>
          <a:xfrm>
            <a:off x="6437809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1" name="object 2361"/>
          <p:cNvSpPr/>
          <p:nvPr/>
        </p:nvSpPr>
        <p:spPr>
          <a:xfrm>
            <a:off x="64450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2" name="object 2362"/>
          <p:cNvSpPr/>
          <p:nvPr/>
        </p:nvSpPr>
        <p:spPr>
          <a:xfrm>
            <a:off x="6450534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3" name="object 2363"/>
          <p:cNvSpPr/>
          <p:nvPr/>
        </p:nvSpPr>
        <p:spPr>
          <a:xfrm>
            <a:off x="64578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4" name="object 2364"/>
          <p:cNvSpPr/>
          <p:nvPr/>
        </p:nvSpPr>
        <p:spPr>
          <a:xfrm>
            <a:off x="6463258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5" name="object 2365"/>
          <p:cNvSpPr/>
          <p:nvPr/>
        </p:nvSpPr>
        <p:spPr>
          <a:xfrm>
            <a:off x="6470531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6" name="object 2366"/>
          <p:cNvSpPr/>
          <p:nvPr/>
        </p:nvSpPr>
        <p:spPr>
          <a:xfrm>
            <a:off x="647780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7" name="object 2367"/>
          <p:cNvSpPr/>
          <p:nvPr/>
        </p:nvSpPr>
        <p:spPr>
          <a:xfrm>
            <a:off x="6483257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8" name="object 2368"/>
          <p:cNvSpPr/>
          <p:nvPr/>
        </p:nvSpPr>
        <p:spPr>
          <a:xfrm>
            <a:off x="649052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69" name="object 2369"/>
          <p:cNvSpPr/>
          <p:nvPr/>
        </p:nvSpPr>
        <p:spPr>
          <a:xfrm>
            <a:off x="649598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0" name="object 2370"/>
          <p:cNvSpPr/>
          <p:nvPr/>
        </p:nvSpPr>
        <p:spPr>
          <a:xfrm>
            <a:off x="6503252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1" name="object 2371"/>
          <p:cNvSpPr/>
          <p:nvPr/>
        </p:nvSpPr>
        <p:spPr>
          <a:xfrm>
            <a:off x="65087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2" name="object 2372"/>
          <p:cNvSpPr/>
          <p:nvPr/>
        </p:nvSpPr>
        <p:spPr>
          <a:xfrm>
            <a:off x="6515979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3" name="object 2373"/>
          <p:cNvSpPr/>
          <p:nvPr/>
        </p:nvSpPr>
        <p:spPr>
          <a:xfrm>
            <a:off x="6521430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4" name="object 2374"/>
          <p:cNvSpPr/>
          <p:nvPr/>
        </p:nvSpPr>
        <p:spPr>
          <a:xfrm>
            <a:off x="6528703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5" name="object 2375"/>
          <p:cNvSpPr/>
          <p:nvPr/>
        </p:nvSpPr>
        <p:spPr>
          <a:xfrm>
            <a:off x="653415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6" name="object 2376"/>
          <p:cNvSpPr/>
          <p:nvPr/>
        </p:nvSpPr>
        <p:spPr>
          <a:xfrm>
            <a:off x="654142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7" name="object 2377"/>
          <p:cNvSpPr/>
          <p:nvPr/>
        </p:nvSpPr>
        <p:spPr>
          <a:xfrm>
            <a:off x="654688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8" name="object 2378"/>
          <p:cNvSpPr/>
          <p:nvPr/>
        </p:nvSpPr>
        <p:spPr>
          <a:xfrm>
            <a:off x="655415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79" name="object 2379"/>
          <p:cNvSpPr/>
          <p:nvPr/>
        </p:nvSpPr>
        <p:spPr>
          <a:xfrm>
            <a:off x="6559606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0" name="object 2380"/>
          <p:cNvSpPr/>
          <p:nvPr/>
        </p:nvSpPr>
        <p:spPr>
          <a:xfrm>
            <a:off x="656687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1" name="object 2381"/>
          <p:cNvSpPr/>
          <p:nvPr/>
        </p:nvSpPr>
        <p:spPr>
          <a:xfrm>
            <a:off x="6572332" y="4277992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2" name="object 2382"/>
          <p:cNvSpPr/>
          <p:nvPr/>
        </p:nvSpPr>
        <p:spPr>
          <a:xfrm>
            <a:off x="6579604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3" name="object 2383"/>
          <p:cNvSpPr/>
          <p:nvPr/>
        </p:nvSpPr>
        <p:spPr>
          <a:xfrm>
            <a:off x="6585058" y="4277992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4" name="object 2384"/>
          <p:cNvSpPr/>
          <p:nvPr/>
        </p:nvSpPr>
        <p:spPr>
          <a:xfrm>
            <a:off x="44872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5" name="object 2385"/>
          <p:cNvSpPr/>
          <p:nvPr/>
        </p:nvSpPr>
        <p:spPr>
          <a:xfrm>
            <a:off x="449450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6" name="object 2386"/>
          <p:cNvSpPr/>
          <p:nvPr/>
        </p:nvSpPr>
        <p:spPr>
          <a:xfrm>
            <a:off x="449995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7" name="object 2387"/>
          <p:cNvSpPr/>
          <p:nvPr/>
        </p:nvSpPr>
        <p:spPr>
          <a:xfrm>
            <a:off x="450722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8" name="object 2388"/>
          <p:cNvSpPr/>
          <p:nvPr/>
        </p:nvSpPr>
        <p:spPr>
          <a:xfrm>
            <a:off x="451267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89" name="object 2389"/>
          <p:cNvSpPr/>
          <p:nvPr/>
        </p:nvSpPr>
        <p:spPr>
          <a:xfrm>
            <a:off x="451994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0" name="object 2390"/>
          <p:cNvSpPr/>
          <p:nvPr/>
        </p:nvSpPr>
        <p:spPr>
          <a:xfrm>
            <a:off x="45254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1" name="object 2391"/>
          <p:cNvSpPr/>
          <p:nvPr/>
        </p:nvSpPr>
        <p:spPr>
          <a:xfrm>
            <a:off x="453267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2" name="object 2392"/>
          <p:cNvSpPr/>
          <p:nvPr/>
        </p:nvSpPr>
        <p:spPr>
          <a:xfrm>
            <a:off x="45381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3" name="object 2393"/>
          <p:cNvSpPr/>
          <p:nvPr/>
        </p:nvSpPr>
        <p:spPr>
          <a:xfrm>
            <a:off x="454539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4" name="object 2394"/>
          <p:cNvSpPr/>
          <p:nvPr/>
        </p:nvSpPr>
        <p:spPr>
          <a:xfrm>
            <a:off x="45508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5" name="object 2395"/>
          <p:cNvSpPr/>
          <p:nvPr/>
        </p:nvSpPr>
        <p:spPr>
          <a:xfrm>
            <a:off x="455812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6" name="object 2396"/>
          <p:cNvSpPr/>
          <p:nvPr/>
        </p:nvSpPr>
        <p:spPr>
          <a:xfrm>
            <a:off x="45635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7" name="object 2397"/>
          <p:cNvSpPr/>
          <p:nvPr/>
        </p:nvSpPr>
        <p:spPr>
          <a:xfrm>
            <a:off x="457084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8" name="object 2398"/>
          <p:cNvSpPr/>
          <p:nvPr/>
        </p:nvSpPr>
        <p:spPr>
          <a:xfrm>
            <a:off x="45763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399" name="object 2399"/>
          <p:cNvSpPr/>
          <p:nvPr/>
        </p:nvSpPr>
        <p:spPr>
          <a:xfrm>
            <a:off x="458357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0" name="object 2400"/>
          <p:cNvSpPr/>
          <p:nvPr/>
        </p:nvSpPr>
        <p:spPr>
          <a:xfrm>
            <a:off x="45890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1" name="object 2401"/>
          <p:cNvSpPr/>
          <p:nvPr/>
        </p:nvSpPr>
        <p:spPr>
          <a:xfrm>
            <a:off x="45963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2" name="object 2402"/>
          <p:cNvSpPr/>
          <p:nvPr/>
        </p:nvSpPr>
        <p:spPr>
          <a:xfrm>
            <a:off x="46017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3" name="object 2403"/>
          <p:cNvSpPr/>
          <p:nvPr/>
        </p:nvSpPr>
        <p:spPr>
          <a:xfrm>
            <a:off x="460902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4" name="object 2404"/>
          <p:cNvSpPr/>
          <p:nvPr/>
        </p:nvSpPr>
        <p:spPr>
          <a:xfrm>
            <a:off x="46144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5" name="object 2405"/>
          <p:cNvSpPr/>
          <p:nvPr/>
        </p:nvSpPr>
        <p:spPr>
          <a:xfrm>
            <a:off x="462174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6" name="object 2406"/>
          <p:cNvSpPr/>
          <p:nvPr/>
        </p:nvSpPr>
        <p:spPr>
          <a:xfrm>
            <a:off x="46272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7" name="object 2407"/>
          <p:cNvSpPr/>
          <p:nvPr/>
        </p:nvSpPr>
        <p:spPr>
          <a:xfrm>
            <a:off x="463447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8" name="object 2408"/>
          <p:cNvSpPr/>
          <p:nvPr/>
        </p:nvSpPr>
        <p:spPr>
          <a:xfrm>
            <a:off x="46399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09" name="object 2409"/>
          <p:cNvSpPr/>
          <p:nvPr/>
        </p:nvSpPr>
        <p:spPr>
          <a:xfrm>
            <a:off x="464720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0" name="object 2410"/>
          <p:cNvSpPr/>
          <p:nvPr/>
        </p:nvSpPr>
        <p:spPr>
          <a:xfrm>
            <a:off x="46526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1" name="object 2411"/>
          <p:cNvSpPr/>
          <p:nvPr/>
        </p:nvSpPr>
        <p:spPr>
          <a:xfrm>
            <a:off x="465992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2" name="object 2412"/>
          <p:cNvSpPr/>
          <p:nvPr/>
        </p:nvSpPr>
        <p:spPr>
          <a:xfrm>
            <a:off x="46653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3" name="object 2413"/>
          <p:cNvSpPr/>
          <p:nvPr/>
        </p:nvSpPr>
        <p:spPr>
          <a:xfrm>
            <a:off x="467265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4" name="object 2414"/>
          <p:cNvSpPr/>
          <p:nvPr/>
        </p:nvSpPr>
        <p:spPr>
          <a:xfrm>
            <a:off x="46781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5" name="object 2415"/>
          <p:cNvSpPr/>
          <p:nvPr/>
        </p:nvSpPr>
        <p:spPr>
          <a:xfrm>
            <a:off x="468537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6" name="object 2416"/>
          <p:cNvSpPr/>
          <p:nvPr/>
        </p:nvSpPr>
        <p:spPr>
          <a:xfrm>
            <a:off x="46908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7" name="object 2417"/>
          <p:cNvSpPr/>
          <p:nvPr/>
        </p:nvSpPr>
        <p:spPr>
          <a:xfrm>
            <a:off x="46981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8" name="object 2418"/>
          <p:cNvSpPr/>
          <p:nvPr/>
        </p:nvSpPr>
        <p:spPr>
          <a:xfrm>
            <a:off x="47035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19" name="object 2419"/>
          <p:cNvSpPr/>
          <p:nvPr/>
        </p:nvSpPr>
        <p:spPr>
          <a:xfrm>
            <a:off x="47108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0" name="object 2420"/>
          <p:cNvSpPr/>
          <p:nvPr/>
        </p:nvSpPr>
        <p:spPr>
          <a:xfrm>
            <a:off x="47162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1" name="object 2421"/>
          <p:cNvSpPr/>
          <p:nvPr/>
        </p:nvSpPr>
        <p:spPr>
          <a:xfrm>
            <a:off x="472355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2" name="object 2422"/>
          <p:cNvSpPr/>
          <p:nvPr/>
        </p:nvSpPr>
        <p:spPr>
          <a:xfrm>
            <a:off x="47290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3" name="object 2423"/>
          <p:cNvSpPr/>
          <p:nvPr/>
        </p:nvSpPr>
        <p:spPr>
          <a:xfrm>
            <a:off x="473627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4" name="object 2424"/>
          <p:cNvSpPr/>
          <p:nvPr/>
        </p:nvSpPr>
        <p:spPr>
          <a:xfrm>
            <a:off x="474354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5" name="object 2425"/>
          <p:cNvSpPr/>
          <p:nvPr/>
        </p:nvSpPr>
        <p:spPr>
          <a:xfrm>
            <a:off x="47490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6" name="object 2426"/>
          <p:cNvSpPr/>
          <p:nvPr/>
        </p:nvSpPr>
        <p:spPr>
          <a:xfrm>
            <a:off x="475627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7" name="object 2427"/>
          <p:cNvSpPr/>
          <p:nvPr/>
        </p:nvSpPr>
        <p:spPr>
          <a:xfrm>
            <a:off x="476172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8" name="object 2428"/>
          <p:cNvSpPr/>
          <p:nvPr/>
        </p:nvSpPr>
        <p:spPr>
          <a:xfrm>
            <a:off x="476899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29" name="object 2429"/>
          <p:cNvSpPr/>
          <p:nvPr/>
        </p:nvSpPr>
        <p:spPr>
          <a:xfrm>
            <a:off x="477445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0" name="object 2430"/>
          <p:cNvSpPr/>
          <p:nvPr/>
        </p:nvSpPr>
        <p:spPr>
          <a:xfrm>
            <a:off x="478172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1" name="object 2431"/>
          <p:cNvSpPr/>
          <p:nvPr/>
        </p:nvSpPr>
        <p:spPr>
          <a:xfrm>
            <a:off x="478717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2" name="object 2432"/>
          <p:cNvSpPr/>
          <p:nvPr/>
        </p:nvSpPr>
        <p:spPr>
          <a:xfrm>
            <a:off x="479444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3" name="object 2433"/>
          <p:cNvSpPr/>
          <p:nvPr/>
        </p:nvSpPr>
        <p:spPr>
          <a:xfrm>
            <a:off x="47999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4" name="object 2434"/>
          <p:cNvSpPr/>
          <p:nvPr/>
        </p:nvSpPr>
        <p:spPr>
          <a:xfrm>
            <a:off x="480717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5" name="object 2435"/>
          <p:cNvSpPr/>
          <p:nvPr/>
        </p:nvSpPr>
        <p:spPr>
          <a:xfrm>
            <a:off x="48126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6" name="object 2436"/>
          <p:cNvSpPr/>
          <p:nvPr/>
        </p:nvSpPr>
        <p:spPr>
          <a:xfrm>
            <a:off x="481989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7" name="object 2437"/>
          <p:cNvSpPr/>
          <p:nvPr/>
        </p:nvSpPr>
        <p:spPr>
          <a:xfrm>
            <a:off x="482535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8" name="object 2438"/>
          <p:cNvSpPr/>
          <p:nvPr/>
        </p:nvSpPr>
        <p:spPr>
          <a:xfrm>
            <a:off x="483262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39" name="object 2439"/>
          <p:cNvSpPr/>
          <p:nvPr/>
        </p:nvSpPr>
        <p:spPr>
          <a:xfrm>
            <a:off x="483807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0" name="object 2440"/>
          <p:cNvSpPr/>
          <p:nvPr/>
        </p:nvSpPr>
        <p:spPr>
          <a:xfrm>
            <a:off x="484534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1" name="object 2441"/>
          <p:cNvSpPr/>
          <p:nvPr/>
        </p:nvSpPr>
        <p:spPr>
          <a:xfrm>
            <a:off x="48508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2" name="object 2442"/>
          <p:cNvSpPr/>
          <p:nvPr/>
        </p:nvSpPr>
        <p:spPr>
          <a:xfrm>
            <a:off x="485807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3" name="object 2443"/>
          <p:cNvSpPr/>
          <p:nvPr/>
        </p:nvSpPr>
        <p:spPr>
          <a:xfrm>
            <a:off x="48635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4" name="object 2444"/>
          <p:cNvSpPr/>
          <p:nvPr/>
        </p:nvSpPr>
        <p:spPr>
          <a:xfrm>
            <a:off x="487080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5" name="object 2445"/>
          <p:cNvSpPr/>
          <p:nvPr/>
        </p:nvSpPr>
        <p:spPr>
          <a:xfrm>
            <a:off x="487625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6" name="object 2446"/>
          <p:cNvSpPr/>
          <p:nvPr/>
        </p:nvSpPr>
        <p:spPr>
          <a:xfrm>
            <a:off x="488352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7" name="object 2447"/>
          <p:cNvSpPr/>
          <p:nvPr/>
        </p:nvSpPr>
        <p:spPr>
          <a:xfrm>
            <a:off x="48889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8" name="object 2448"/>
          <p:cNvSpPr/>
          <p:nvPr/>
        </p:nvSpPr>
        <p:spPr>
          <a:xfrm>
            <a:off x="489625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49" name="object 2449"/>
          <p:cNvSpPr/>
          <p:nvPr/>
        </p:nvSpPr>
        <p:spPr>
          <a:xfrm>
            <a:off x="49017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0" name="object 2450"/>
          <p:cNvSpPr/>
          <p:nvPr/>
        </p:nvSpPr>
        <p:spPr>
          <a:xfrm>
            <a:off x="490897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1" name="object 2451"/>
          <p:cNvSpPr/>
          <p:nvPr/>
        </p:nvSpPr>
        <p:spPr>
          <a:xfrm>
            <a:off x="49144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2" name="object 2452"/>
          <p:cNvSpPr/>
          <p:nvPr/>
        </p:nvSpPr>
        <p:spPr>
          <a:xfrm>
            <a:off x="492170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3" name="object 2453"/>
          <p:cNvSpPr/>
          <p:nvPr/>
        </p:nvSpPr>
        <p:spPr>
          <a:xfrm>
            <a:off x="49271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4" name="object 2454"/>
          <p:cNvSpPr/>
          <p:nvPr/>
        </p:nvSpPr>
        <p:spPr>
          <a:xfrm>
            <a:off x="493442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5" name="object 2455"/>
          <p:cNvSpPr/>
          <p:nvPr/>
        </p:nvSpPr>
        <p:spPr>
          <a:xfrm>
            <a:off x="49398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6" name="object 2456"/>
          <p:cNvSpPr/>
          <p:nvPr/>
        </p:nvSpPr>
        <p:spPr>
          <a:xfrm>
            <a:off x="4947151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7" name="object 2457"/>
          <p:cNvSpPr/>
          <p:nvPr/>
        </p:nvSpPr>
        <p:spPr>
          <a:xfrm>
            <a:off x="49526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8" name="object 2458"/>
          <p:cNvSpPr/>
          <p:nvPr/>
        </p:nvSpPr>
        <p:spPr>
          <a:xfrm>
            <a:off x="495987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59" name="object 2459"/>
          <p:cNvSpPr/>
          <p:nvPr/>
        </p:nvSpPr>
        <p:spPr>
          <a:xfrm>
            <a:off x="49653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0" name="object 2460"/>
          <p:cNvSpPr/>
          <p:nvPr/>
        </p:nvSpPr>
        <p:spPr>
          <a:xfrm>
            <a:off x="49726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1" name="object 2461"/>
          <p:cNvSpPr/>
          <p:nvPr/>
        </p:nvSpPr>
        <p:spPr>
          <a:xfrm>
            <a:off x="49780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2" name="object 2462"/>
          <p:cNvSpPr/>
          <p:nvPr/>
        </p:nvSpPr>
        <p:spPr>
          <a:xfrm>
            <a:off x="498532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3" name="object 2463"/>
          <p:cNvSpPr/>
          <p:nvPr/>
        </p:nvSpPr>
        <p:spPr>
          <a:xfrm>
            <a:off x="49907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4" name="object 2464"/>
          <p:cNvSpPr/>
          <p:nvPr/>
        </p:nvSpPr>
        <p:spPr>
          <a:xfrm>
            <a:off x="499805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5" name="object 2465"/>
          <p:cNvSpPr/>
          <p:nvPr/>
        </p:nvSpPr>
        <p:spPr>
          <a:xfrm>
            <a:off x="50035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6" name="object 2466"/>
          <p:cNvSpPr/>
          <p:nvPr/>
        </p:nvSpPr>
        <p:spPr>
          <a:xfrm>
            <a:off x="501077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7" name="object 2467"/>
          <p:cNvSpPr/>
          <p:nvPr/>
        </p:nvSpPr>
        <p:spPr>
          <a:xfrm>
            <a:off x="50162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8" name="object 2468"/>
          <p:cNvSpPr/>
          <p:nvPr/>
        </p:nvSpPr>
        <p:spPr>
          <a:xfrm>
            <a:off x="502350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69" name="object 2469"/>
          <p:cNvSpPr/>
          <p:nvPr/>
        </p:nvSpPr>
        <p:spPr>
          <a:xfrm>
            <a:off x="50289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0" name="object 2470"/>
          <p:cNvSpPr/>
          <p:nvPr/>
        </p:nvSpPr>
        <p:spPr>
          <a:xfrm>
            <a:off x="503622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1" name="object 2471"/>
          <p:cNvSpPr/>
          <p:nvPr/>
        </p:nvSpPr>
        <p:spPr>
          <a:xfrm>
            <a:off x="50416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2" name="object 2472"/>
          <p:cNvSpPr/>
          <p:nvPr/>
        </p:nvSpPr>
        <p:spPr>
          <a:xfrm>
            <a:off x="504895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3" name="object 2473"/>
          <p:cNvSpPr/>
          <p:nvPr/>
        </p:nvSpPr>
        <p:spPr>
          <a:xfrm>
            <a:off x="50544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4" name="object 2474"/>
          <p:cNvSpPr/>
          <p:nvPr/>
        </p:nvSpPr>
        <p:spPr>
          <a:xfrm>
            <a:off x="506167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5" name="object 2475"/>
          <p:cNvSpPr/>
          <p:nvPr/>
        </p:nvSpPr>
        <p:spPr>
          <a:xfrm>
            <a:off x="50671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6" name="object 2476"/>
          <p:cNvSpPr/>
          <p:nvPr/>
        </p:nvSpPr>
        <p:spPr>
          <a:xfrm>
            <a:off x="50744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7" name="object 2477"/>
          <p:cNvSpPr/>
          <p:nvPr/>
        </p:nvSpPr>
        <p:spPr>
          <a:xfrm>
            <a:off x="50798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8" name="object 2478"/>
          <p:cNvSpPr/>
          <p:nvPr/>
        </p:nvSpPr>
        <p:spPr>
          <a:xfrm>
            <a:off x="508712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79" name="object 2479"/>
          <p:cNvSpPr/>
          <p:nvPr/>
        </p:nvSpPr>
        <p:spPr>
          <a:xfrm>
            <a:off x="50925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0" name="object 2480"/>
          <p:cNvSpPr/>
          <p:nvPr/>
        </p:nvSpPr>
        <p:spPr>
          <a:xfrm>
            <a:off x="509985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1" name="object 2481"/>
          <p:cNvSpPr/>
          <p:nvPr/>
        </p:nvSpPr>
        <p:spPr>
          <a:xfrm>
            <a:off x="51053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2" name="object 2482"/>
          <p:cNvSpPr/>
          <p:nvPr/>
        </p:nvSpPr>
        <p:spPr>
          <a:xfrm>
            <a:off x="511257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3" name="object 2483"/>
          <p:cNvSpPr/>
          <p:nvPr/>
        </p:nvSpPr>
        <p:spPr>
          <a:xfrm>
            <a:off x="51180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4" name="object 2484"/>
          <p:cNvSpPr/>
          <p:nvPr/>
        </p:nvSpPr>
        <p:spPr>
          <a:xfrm>
            <a:off x="51253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5" name="object 2485"/>
          <p:cNvSpPr/>
          <p:nvPr/>
        </p:nvSpPr>
        <p:spPr>
          <a:xfrm>
            <a:off x="51307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6" name="object 2486"/>
          <p:cNvSpPr/>
          <p:nvPr/>
        </p:nvSpPr>
        <p:spPr>
          <a:xfrm>
            <a:off x="51380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7" name="object 2487"/>
          <p:cNvSpPr/>
          <p:nvPr/>
        </p:nvSpPr>
        <p:spPr>
          <a:xfrm>
            <a:off x="51434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8" name="object 2488"/>
          <p:cNvSpPr/>
          <p:nvPr/>
        </p:nvSpPr>
        <p:spPr>
          <a:xfrm>
            <a:off x="515075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89" name="object 2489"/>
          <p:cNvSpPr/>
          <p:nvPr/>
        </p:nvSpPr>
        <p:spPr>
          <a:xfrm>
            <a:off x="51562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0" name="object 2490"/>
          <p:cNvSpPr/>
          <p:nvPr/>
        </p:nvSpPr>
        <p:spPr>
          <a:xfrm>
            <a:off x="51634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1" name="object 2491"/>
          <p:cNvSpPr/>
          <p:nvPr/>
        </p:nvSpPr>
        <p:spPr>
          <a:xfrm>
            <a:off x="51689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2" name="object 2492"/>
          <p:cNvSpPr/>
          <p:nvPr/>
        </p:nvSpPr>
        <p:spPr>
          <a:xfrm>
            <a:off x="51762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3" name="object 2493"/>
          <p:cNvSpPr/>
          <p:nvPr/>
        </p:nvSpPr>
        <p:spPr>
          <a:xfrm>
            <a:off x="518347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4" name="object 2494"/>
          <p:cNvSpPr/>
          <p:nvPr/>
        </p:nvSpPr>
        <p:spPr>
          <a:xfrm>
            <a:off x="51889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5" name="object 2495"/>
          <p:cNvSpPr/>
          <p:nvPr/>
        </p:nvSpPr>
        <p:spPr>
          <a:xfrm>
            <a:off x="519619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6" name="object 2496"/>
          <p:cNvSpPr/>
          <p:nvPr/>
        </p:nvSpPr>
        <p:spPr>
          <a:xfrm>
            <a:off x="52016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7" name="object 2497"/>
          <p:cNvSpPr/>
          <p:nvPr/>
        </p:nvSpPr>
        <p:spPr>
          <a:xfrm>
            <a:off x="5208926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8" name="object 2498"/>
          <p:cNvSpPr/>
          <p:nvPr/>
        </p:nvSpPr>
        <p:spPr>
          <a:xfrm>
            <a:off x="521437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499" name="object 2499"/>
          <p:cNvSpPr/>
          <p:nvPr/>
        </p:nvSpPr>
        <p:spPr>
          <a:xfrm>
            <a:off x="522165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0" name="object 2500"/>
          <p:cNvSpPr/>
          <p:nvPr/>
        </p:nvSpPr>
        <p:spPr>
          <a:xfrm>
            <a:off x="52271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1" name="object 2501"/>
          <p:cNvSpPr/>
          <p:nvPr/>
        </p:nvSpPr>
        <p:spPr>
          <a:xfrm>
            <a:off x="523437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2" name="object 2502"/>
          <p:cNvSpPr/>
          <p:nvPr/>
        </p:nvSpPr>
        <p:spPr>
          <a:xfrm>
            <a:off x="52398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3" name="object 2503"/>
          <p:cNvSpPr/>
          <p:nvPr/>
        </p:nvSpPr>
        <p:spPr>
          <a:xfrm>
            <a:off x="524709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4" name="object 2504"/>
          <p:cNvSpPr/>
          <p:nvPr/>
        </p:nvSpPr>
        <p:spPr>
          <a:xfrm>
            <a:off x="52525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5" name="object 2505"/>
          <p:cNvSpPr/>
          <p:nvPr/>
        </p:nvSpPr>
        <p:spPr>
          <a:xfrm>
            <a:off x="525982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6" name="object 2506"/>
          <p:cNvSpPr/>
          <p:nvPr/>
        </p:nvSpPr>
        <p:spPr>
          <a:xfrm>
            <a:off x="526527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7" name="object 2507"/>
          <p:cNvSpPr/>
          <p:nvPr/>
        </p:nvSpPr>
        <p:spPr>
          <a:xfrm>
            <a:off x="527255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8" name="object 2508"/>
          <p:cNvSpPr/>
          <p:nvPr/>
        </p:nvSpPr>
        <p:spPr>
          <a:xfrm>
            <a:off x="52780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09" name="object 2509"/>
          <p:cNvSpPr/>
          <p:nvPr/>
        </p:nvSpPr>
        <p:spPr>
          <a:xfrm>
            <a:off x="528527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0" name="object 2510"/>
          <p:cNvSpPr/>
          <p:nvPr/>
        </p:nvSpPr>
        <p:spPr>
          <a:xfrm>
            <a:off x="52907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1" name="object 2511"/>
          <p:cNvSpPr/>
          <p:nvPr/>
        </p:nvSpPr>
        <p:spPr>
          <a:xfrm>
            <a:off x="5298001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2" name="object 2512"/>
          <p:cNvSpPr/>
          <p:nvPr/>
        </p:nvSpPr>
        <p:spPr>
          <a:xfrm>
            <a:off x="53034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3" name="object 2513"/>
          <p:cNvSpPr/>
          <p:nvPr/>
        </p:nvSpPr>
        <p:spPr>
          <a:xfrm>
            <a:off x="531072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4" name="object 2514"/>
          <p:cNvSpPr/>
          <p:nvPr/>
        </p:nvSpPr>
        <p:spPr>
          <a:xfrm>
            <a:off x="53161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5" name="object 2515"/>
          <p:cNvSpPr/>
          <p:nvPr/>
        </p:nvSpPr>
        <p:spPr>
          <a:xfrm>
            <a:off x="532345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6" name="object 2516"/>
          <p:cNvSpPr/>
          <p:nvPr/>
        </p:nvSpPr>
        <p:spPr>
          <a:xfrm>
            <a:off x="53289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7" name="object 2517"/>
          <p:cNvSpPr/>
          <p:nvPr/>
        </p:nvSpPr>
        <p:spPr>
          <a:xfrm>
            <a:off x="5336176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8" name="object 2518"/>
          <p:cNvSpPr/>
          <p:nvPr/>
        </p:nvSpPr>
        <p:spPr>
          <a:xfrm>
            <a:off x="53416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19" name="object 2519"/>
          <p:cNvSpPr/>
          <p:nvPr/>
        </p:nvSpPr>
        <p:spPr>
          <a:xfrm>
            <a:off x="5348901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0" name="object 2520"/>
          <p:cNvSpPr/>
          <p:nvPr/>
        </p:nvSpPr>
        <p:spPr>
          <a:xfrm>
            <a:off x="53543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1" name="object 2521"/>
          <p:cNvSpPr/>
          <p:nvPr/>
        </p:nvSpPr>
        <p:spPr>
          <a:xfrm>
            <a:off x="536162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2" name="object 2522"/>
          <p:cNvSpPr/>
          <p:nvPr/>
        </p:nvSpPr>
        <p:spPr>
          <a:xfrm>
            <a:off x="53670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3" name="object 2523"/>
          <p:cNvSpPr/>
          <p:nvPr/>
        </p:nvSpPr>
        <p:spPr>
          <a:xfrm>
            <a:off x="5374351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4" name="object 2524"/>
          <p:cNvSpPr/>
          <p:nvPr/>
        </p:nvSpPr>
        <p:spPr>
          <a:xfrm>
            <a:off x="53798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5" name="object 2525"/>
          <p:cNvSpPr/>
          <p:nvPr/>
        </p:nvSpPr>
        <p:spPr>
          <a:xfrm>
            <a:off x="538707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6" name="object 2526"/>
          <p:cNvSpPr/>
          <p:nvPr/>
        </p:nvSpPr>
        <p:spPr>
          <a:xfrm>
            <a:off x="53925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7" name="object 2527"/>
          <p:cNvSpPr/>
          <p:nvPr/>
        </p:nvSpPr>
        <p:spPr>
          <a:xfrm>
            <a:off x="53998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8" name="object 2528"/>
          <p:cNvSpPr/>
          <p:nvPr/>
        </p:nvSpPr>
        <p:spPr>
          <a:xfrm>
            <a:off x="54052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29" name="object 2529"/>
          <p:cNvSpPr/>
          <p:nvPr/>
        </p:nvSpPr>
        <p:spPr>
          <a:xfrm>
            <a:off x="541252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0" name="object 2530"/>
          <p:cNvSpPr/>
          <p:nvPr/>
        </p:nvSpPr>
        <p:spPr>
          <a:xfrm>
            <a:off x="54179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1" name="object 2531"/>
          <p:cNvSpPr/>
          <p:nvPr/>
        </p:nvSpPr>
        <p:spPr>
          <a:xfrm>
            <a:off x="54252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2" name="object 2532"/>
          <p:cNvSpPr/>
          <p:nvPr/>
        </p:nvSpPr>
        <p:spPr>
          <a:xfrm>
            <a:off x="54307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3" name="object 2533"/>
          <p:cNvSpPr/>
          <p:nvPr/>
        </p:nvSpPr>
        <p:spPr>
          <a:xfrm>
            <a:off x="543797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4" name="object 2534"/>
          <p:cNvSpPr/>
          <p:nvPr/>
        </p:nvSpPr>
        <p:spPr>
          <a:xfrm>
            <a:off x="54434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5" name="object 2535"/>
          <p:cNvSpPr/>
          <p:nvPr/>
        </p:nvSpPr>
        <p:spPr>
          <a:xfrm>
            <a:off x="545070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6" name="object 2536"/>
          <p:cNvSpPr/>
          <p:nvPr/>
        </p:nvSpPr>
        <p:spPr>
          <a:xfrm>
            <a:off x="54561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7" name="object 2537"/>
          <p:cNvSpPr/>
          <p:nvPr/>
        </p:nvSpPr>
        <p:spPr>
          <a:xfrm>
            <a:off x="54634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8" name="object 2538"/>
          <p:cNvSpPr/>
          <p:nvPr/>
        </p:nvSpPr>
        <p:spPr>
          <a:xfrm>
            <a:off x="54688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39" name="object 2539"/>
          <p:cNvSpPr/>
          <p:nvPr/>
        </p:nvSpPr>
        <p:spPr>
          <a:xfrm>
            <a:off x="547615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0" name="object 2540"/>
          <p:cNvSpPr/>
          <p:nvPr/>
        </p:nvSpPr>
        <p:spPr>
          <a:xfrm>
            <a:off x="548160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1" name="object 2541"/>
          <p:cNvSpPr/>
          <p:nvPr/>
        </p:nvSpPr>
        <p:spPr>
          <a:xfrm>
            <a:off x="548887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2" name="object 2542"/>
          <p:cNvSpPr/>
          <p:nvPr/>
        </p:nvSpPr>
        <p:spPr>
          <a:xfrm>
            <a:off x="54943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3" name="object 2543"/>
          <p:cNvSpPr/>
          <p:nvPr/>
        </p:nvSpPr>
        <p:spPr>
          <a:xfrm>
            <a:off x="55016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4" name="object 2544"/>
          <p:cNvSpPr/>
          <p:nvPr/>
        </p:nvSpPr>
        <p:spPr>
          <a:xfrm>
            <a:off x="55070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5" name="object 2545"/>
          <p:cNvSpPr/>
          <p:nvPr/>
        </p:nvSpPr>
        <p:spPr>
          <a:xfrm>
            <a:off x="551432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6" name="object 2546"/>
          <p:cNvSpPr/>
          <p:nvPr/>
        </p:nvSpPr>
        <p:spPr>
          <a:xfrm>
            <a:off x="55197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7" name="object 2547"/>
          <p:cNvSpPr/>
          <p:nvPr/>
        </p:nvSpPr>
        <p:spPr>
          <a:xfrm>
            <a:off x="55270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8" name="object 2548"/>
          <p:cNvSpPr/>
          <p:nvPr/>
        </p:nvSpPr>
        <p:spPr>
          <a:xfrm>
            <a:off x="55325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49" name="object 2549"/>
          <p:cNvSpPr/>
          <p:nvPr/>
        </p:nvSpPr>
        <p:spPr>
          <a:xfrm>
            <a:off x="55397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0" name="object 2550"/>
          <p:cNvSpPr/>
          <p:nvPr/>
        </p:nvSpPr>
        <p:spPr>
          <a:xfrm>
            <a:off x="55452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1" name="object 2551"/>
          <p:cNvSpPr/>
          <p:nvPr/>
        </p:nvSpPr>
        <p:spPr>
          <a:xfrm>
            <a:off x="55525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2" name="object 2552"/>
          <p:cNvSpPr/>
          <p:nvPr/>
        </p:nvSpPr>
        <p:spPr>
          <a:xfrm>
            <a:off x="55579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3" name="object 2553"/>
          <p:cNvSpPr/>
          <p:nvPr/>
        </p:nvSpPr>
        <p:spPr>
          <a:xfrm>
            <a:off x="55652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4" name="object 2554"/>
          <p:cNvSpPr/>
          <p:nvPr/>
        </p:nvSpPr>
        <p:spPr>
          <a:xfrm>
            <a:off x="55706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5" name="object 2555"/>
          <p:cNvSpPr/>
          <p:nvPr/>
        </p:nvSpPr>
        <p:spPr>
          <a:xfrm>
            <a:off x="55779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6" name="object 2556"/>
          <p:cNvSpPr/>
          <p:nvPr/>
        </p:nvSpPr>
        <p:spPr>
          <a:xfrm>
            <a:off x="55834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7" name="object 2557"/>
          <p:cNvSpPr/>
          <p:nvPr/>
        </p:nvSpPr>
        <p:spPr>
          <a:xfrm>
            <a:off x="55906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8" name="object 2558"/>
          <p:cNvSpPr/>
          <p:nvPr/>
        </p:nvSpPr>
        <p:spPr>
          <a:xfrm>
            <a:off x="559613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59" name="object 2559"/>
          <p:cNvSpPr/>
          <p:nvPr/>
        </p:nvSpPr>
        <p:spPr>
          <a:xfrm>
            <a:off x="56034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0" name="object 2560"/>
          <p:cNvSpPr/>
          <p:nvPr/>
        </p:nvSpPr>
        <p:spPr>
          <a:xfrm>
            <a:off x="561067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1" name="object 2561"/>
          <p:cNvSpPr/>
          <p:nvPr/>
        </p:nvSpPr>
        <p:spPr>
          <a:xfrm>
            <a:off x="56161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2" name="object 2562"/>
          <p:cNvSpPr/>
          <p:nvPr/>
        </p:nvSpPr>
        <p:spPr>
          <a:xfrm>
            <a:off x="562340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3" name="object 2563"/>
          <p:cNvSpPr/>
          <p:nvPr/>
        </p:nvSpPr>
        <p:spPr>
          <a:xfrm>
            <a:off x="56288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4" name="object 2564"/>
          <p:cNvSpPr/>
          <p:nvPr/>
        </p:nvSpPr>
        <p:spPr>
          <a:xfrm>
            <a:off x="5636125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5" name="object 2565"/>
          <p:cNvSpPr/>
          <p:nvPr/>
        </p:nvSpPr>
        <p:spPr>
          <a:xfrm>
            <a:off x="56415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6" name="object 2566"/>
          <p:cNvSpPr/>
          <p:nvPr/>
        </p:nvSpPr>
        <p:spPr>
          <a:xfrm>
            <a:off x="564885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7" name="object 2567"/>
          <p:cNvSpPr/>
          <p:nvPr/>
        </p:nvSpPr>
        <p:spPr>
          <a:xfrm>
            <a:off x="56543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8" name="object 2568"/>
          <p:cNvSpPr/>
          <p:nvPr/>
        </p:nvSpPr>
        <p:spPr>
          <a:xfrm>
            <a:off x="5661576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69" name="object 2569"/>
          <p:cNvSpPr/>
          <p:nvPr/>
        </p:nvSpPr>
        <p:spPr>
          <a:xfrm>
            <a:off x="56670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0" name="object 2570"/>
          <p:cNvSpPr/>
          <p:nvPr/>
        </p:nvSpPr>
        <p:spPr>
          <a:xfrm>
            <a:off x="5674300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1" name="object 2571"/>
          <p:cNvSpPr/>
          <p:nvPr/>
        </p:nvSpPr>
        <p:spPr>
          <a:xfrm>
            <a:off x="56797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2" name="object 2572"/>
          <p:cNvSpPr/>
          <p:nvPr/>
        </p:nvSpPr>
        <p:spPr>
          <a:xfrm>
            <a:off x="568702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3" name="object 2573"/>
          <p:cNvSpPr/>
          <p:nvPr/>
        </p:nvSpPr>
        <p:spPr>
          <a:xfrm>
            <a:off x="56924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4" name="object 2574"/>
          <p:cNvSpPr/>
          <p:nvPr/>
        </p:nvSpPr>
        <p:spPr>
          <a:xfrm>
            <a:off x="5699751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5" name="object 2575"/>
          <p:cNvSpPr/>
          <p:nvPr/>
        </p:nvSpPr>
        <p:spPr>
          <a:xfrm>
            <a:off x="57052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6" name="object 2576"/>
          <p:cNvSpPr/>
          <p:nvPr/>
        </p:nvSpPr>
        <p:spPr>
          <a:xfrm>
            <a:off x="5712476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7" name="object 2577"/>
          <p:cNvSpPr/>
          <p:nvPr/>
        </p:nvSpPr>
        <p:spPr>
          <a:xfrm>
            <a:off x="57179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8" name="object 2578"/>
          <p:cNvSpPr/>
          <p:nvPr/>
        </p:nvSpPr>
        <p:spPr>
          <a:xfrm>
            <a:off x="572520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79" name="object 2579"/>
          <p:cNvSpPr/>
          <p:nvPr/>
        </p:nvSpPr>
        <p:spPr>
          <a:xfrm>
            <a:off x="57306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0" name="object 2580"/>
          <p:cNvSpPr/>
          <p:nvPr/>
        </p:nvSpPr>
        <p:spPr>
          <a:xfrm>
            <a:off x="5737926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1" name="object 2581"/>
          <p:cNvSpPr/>
          <p:nvPr/>
        </p:nvSpPr>
        <p:spPr>
          <a:xfrm>
            <a:off x="57433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2" name="object 2582"/>
          <p:cNvSpPr/>
          <p:nvPr/>
        </p:nvSpPr>
        <p:spPr>
          <a:xfrm>
            <a:off x="575065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3" name="object 2583"/>
          <p:cNvSpPr/>
          <p:nvPr/>
        </p:nvSpPr>
        <p:spPr>
          <a:xfrm>
            <a:off x="57561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4" name="object 2584"/>
          <p:cNvSpPr/>
          <p:nvPr/>
        </p:nvSpPr>
        <p:spPr>
          <a:xfrm>
            <a:off x="5763376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5" name="object 2585"/>
          <p:cNvSpPr/>
          <p:nvPr/>
        </p:nvSpPr>
        <p:spPr>
          <a:xfrm>
            <a:off x="57688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6" name="object 2586"/>
          <p:cNvSpPr/>
          <p:nvPr/>
        </p:nvSpPr>
        <p:spPr>
          <a:xfrm>
            <a:off x="577610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7" name="object 2587"/>
          <p:cNvSpPr/>
          <p:nvPr/>
        </p:nvSpPr>
        <p:spPr>
          <a:xfrm>
            <a:off x="57815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8" name="object 2588"/>
          <p:cNvSpPr/>
          <p:nvPr/>
        </p:nvSpPr>
        <p:spPr>
          <a:xfrm>
            <a:off x="578882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89" name="object 2589"/>
          <p:cNvSpPr/>
          <p:nvPr/>
        </p:nvSpPr>
        <p:spPr>
          <a:xfrm>
            <a:off x="57942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0" name="object 2590"/>
          <p:cNvSpPr/>
          <p:nvPr/>
        </p:nvSpPr>
        <p:spPr>
          <a:xfrm>
            <a:off x="580155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1" name="object 2591"/>
          <p:cNvSpPr/>
          <p:nvPr/>
        </p:nvSpPr>
        <p:spPr>
          <a:xfrm>
            <a:off x="58070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2" name="object 2592"/>
          <p:cNvSpPr/>
          <p:nvPr/>
        </p:nvSpPr>
        <p:spPr>
          <a:xfrm>
            <a:off x="581427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3" name="object 2593"/>
          <p:cNvSpPr/>
          <p:nvPr/>
        </p:nvSpPr>
        <p:spPr>
          <a:xfrm>
            <a:off x="58197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4" name="object 2594"/>
          <p:cNvSpPr/>
          <p:nvPr/>
        </p:nvSpPr>
        <p:spPr>
          <a:xfrm>
            <a:off x="58270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5" name="object 2595"/>
          <p:cNvSpPr/>
          <p:nvPr/>
        </p:nvSpPr>
        <p:spPr>
          <a:xfrm>
            <a:off x="58324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6" name="object 2596"/>
          <p:cNvSpPr/>
          <p:nvPr/>
        </p:nvSpPr>
        <p:spPr>
          <a:xfrm>
            <a:off x="583972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7" name="object 2597"/>
          <p:cNvSpPr/>
          <p:nvPr/>
        </p:nvSpPr>
        <p:spPr>
          <a:xfrm>
            <a:off x="58451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8" name="object 2598"/>
          <p:cNvSpPr/>
          <p:nvPr/>
        </p:nvSpPr>
        <p:spPr>
          <a:xfrm>
            <a:off x="585245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599" name="object 2599"/>
          <p:cNvSpPr/>
          <p:nvPr/>
        </p:nvSpPr>
        <p:spPr>
          <a:xfrm>
            <a:off x="585790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0" name="object 2600"/>
          <p:cNvSpPr/>
          <p:nvPr/>
        </p:nvSpPr>
        <p:spPr>
          <a:xfrm>
            <a:off x="586517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1" name="object 2601"/>
          <p:cNvSpPr/>
          <p:nvPr/>
        </p:nvSpPr>
        <p:spPr>
          <a:xfrm>
            <a:off x="58706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2" name="object 2602"/>
          <p:cNvSpPr/>
          <p:nvPr/>
        </p:nvSpPr>
        <p:spPr>
          <a:xfrm>
            <a:off x="587790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3" name="object 2603"/>
          <p:cNvSpPr/>
          <p:nvPr/>
        </p:nvSpPr>
        <p:spPr>
          <a:xfrm>
            <a:off x="58833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4" name="object 2604"/>
          <p:cNvSpPr/>
          <p:nvPr/>
        </p:nvSpPr>
        <p:spPr>
          <a:xfrm>
            <a:off x="58906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5" name="object 2605"/>
          <p:cNvSpPr/>
          <p:nvPr/>
        </p:nvSpPr>
        <p:spPr>
          <a:xfrm>
            <a:off x="58960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6" name="object 2606"/>
          <p:cNvSpPr/>
          <p:nvPr/>
        </p:nvSpPr>
        <p:spPr>
          <a:xfrm>
            <a:off x="59033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7" name="object 2607"/>
          <p:cNvSpPr/>
          <p:nvPr/>
        </p:nvSpPr>
        <p:spPr>
          <a:xfrm>
            <a:off x="59088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8" name="object 2608"/>
          <p:cNvSpPr/>
          <p:nvPr/>
        </p:nvSpPr>
        <p:spPr>
          <a:xfrm>
            <a:off x="59160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09" name="object 2609"/>
          <p:cNvSpPr/>
          <p:nvPr/>
        </p:nvSpPr>
        <p:spPr>
          <a:xfrm>
            <a:off x="59215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0" name="object 2610"/>
          <p:cNvSpPr/>
          <p:nvPr/>
        </p:nvSpPr>
        <p:spPr>
          <a:xfrm>
            <a:off x="59288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1" name="object 2611"/>
          <p:cNvSpPr/>
          <p:nvPr/>
        </p:nvSpPr>
        <p:spPr>
          <a:xfrm>
            <a:off x="59342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2" name="object 2612"/>
          <p:cNvSpPr/>
          <p:nvPr/>
        </p:nvSpPr>
        <p:spPr>
          <a:xfrm>
            <a:off x="594152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3" name="object 2613"/>
          <p:cNvSpPr/>
          <p:nvPr/>
        </p:nvSpPr>
        <p:spPr>
          <a:xfrm>
            <a:off x="594698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4" name="object 2614"/>
          <p:cNvSpPr/>
          <p:nvPr/>
        </p:nvSpPr>
        <p:spPr>
          <a:xfrm>
            <a:off x="59542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5" name="object 2615"/>
          <p:cNvSpPr/>
          <p:nvPr/>
        </p:nvSpPr>
        <p:spPr>
          <a:xfrm>
            <a:off x="595970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6" name="object 2616"/>
          <p:cNvSpPr/>
          <p:nvPr/>
        </p:nvSpPr>
        <p:spPr>
          <a:xfrm>
            <a:off x="59669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7" name="object 2617"/>
          <p:cNvSpPr/>
          <p:nvPr/>
        </p:nvSpPr>
        <p:spPr>
          <a:xfrm>
            <a:off x="597243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8" name="object 2618"/>
          <p:cNvSpPr/>
          <p:nvPr/>
        </p:nvSpPr>
        <p:spPr>
          <a:xfrm>
            <a:off x="59797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19" name="object 2619"/>
          <p:cNvSpPr/>
          <p:nvPr/>
        </p:nvSpPr>
        <p:spPr>
          <a:xfrm>
            <a:off x="598515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0" name="object 2620"/>
          <p:cNvSpPr/>
          <p:nvPr/>
        </p:nvSpPr>
        <p:spPr>
          <a:xfrm>
            <a:off x="59924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1" name="object 2621"/>
          <p:cNvSpPr/>
          <p:nvPr/>
        </p:nvSpPr>
        <p:spPr>
          <a:xfrm>
            <a:off x="599788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2" name="object 2622"/>
          <p:cNvSpPr/>
          <p:nvPr/>
        </p:nvSpPr>
        <p:spPr>
          <a:xfrm>
            <a:off x="60051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3" name="object 2623"/>
          <p:cNvSpPr/>
          <p:nvPr/>
        </p:nvSpPr>
        <p:spPr>
          <a:xfrm>
            <a:off x="601060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4" name="object 2624"/>
          <p:cNvSpPr/>
          <p:nvPr/>
        </p:nvSpPr>
        <p:spPr>
          <a:xfrm>
            <a:off x="60178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5" name="object 2625"/>
          <p:cNvSpPr/>
          <p:nvPr/>
        </p:nvSpPr>
        <p:spPr>
          <a:xfrm>
            <a:off x="602333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6" name="object 2626"/>
          <p:cNvSpPr/>
          <p:nvPr/>
        </p:nvSpPr>
        <p:spPr>
          <a:xfrm>
            <a:off x="60306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7" name="object 2627"/>
          <p:cNvSpPr/>
          <p:nvPr/>
        </p:nvSpPr>
        <p:spPr>
          <a:xfrm>
            <a:off x="603605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8" name="object 2628"/>
          <p:cNvSpPr/>
          <p:nvPr/>
        </p:nvSpPr>
        <p:spPr>
          <a:xfrm>
            <a:off x="60433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29" name="object 2629"/>
          <p:cNvSpPr/>
          <p:nvPr/>
        </p:nvSpPr>
        <p:spPr>
          <a:xfrm>
            <a:off x="605060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0" name="object 2630"/>
          <p:cNvSpPr/>
          <p:nvPr/>
        </p:nvSpPr>
        <p:spPr>
          <a:xfrm>
            <a:off x="60560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1" name="object 2631"/>
          <p:cNvSpPr/>
          <p:nvPr/>
        </p:nvSpPr>
        <p:spPr>
          <a:xfrm>
            <a:off x="606332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2" name="object 2632"/>
          <p:cNvSpPr/>
          <p:nvPr/>
        </p:nvSpPr>
        <p:spPr>
          <a:xfrm>
            <a:off x="60687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3" name="object 2633"/>
          <p:cNvSpPr/>
          <p:nvPr/>
        </p:nvSpPr>
        <p:spPr>
          <a:xfrm>
            <a:off x="6076051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4" name="object 2634"/>
          <p:cNvSpPr/>
          <p:nvPr/>
        </p:nvSpPr>
        <p:spPr>
          <a:xfrm>
            <a:off x="60815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5" name="object 2635"/>
          <p:cNvSpPr/>
          <p:nvPr/>
        </p:nvSpPr>
        <p:spPr>
          <a:xfrm>
            <a:off x="608877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6" name="object 2636"/>
          <p:cNvSpPr/>
          <p:nvPr/>
        </p:nvSpPr>
        <p:spPr>
          <a:xfrm>
            <a:off x="60942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7" name="object 2637"/>
          <p:cNvSpPr/>
          <p:nvPr/>
        </p:nvSpPr>
        <p:spPr>
          <a:xfrm>
            <a:off x="610150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8" name="object 2638"/>
          <p:cNvSpPr/>
          <p:nvPr/>
        </p:nvSpPr>
        <p:spPr>
          <a:xfrm>
            <a:off x="61069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39" name="object 2639"/>
          <p:cNvSpPr/>
          <p:nvPr/>
        </p:nvSpPr>
        <p:spPr>
          <a:xfrm>
            <a:off x="611422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0" name="object 2640"/>
          <p:cNvSpPr/>
          <p:nvPr/>
        </p:nvSpPr>
        <p:spPr>
          <a:xfrm>
            <a:off x="61196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1" name="object 2641"/>
          <p:cNvSpPr/>
          <p:nvPr/>
        </p:nvSpPr>
        <p:spPr>
          <a:xfrm>
            <a:off x="612695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2" name="object 2642"/>
          <p:cNvSpPr/>
          <p:nvPr/>
        </p:nvSpPr>
        <p:spPr>
          <a:xfrm>
            <a:off x="61324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3" name="object 2643"/>
          <p:cNvSpPr/>
          <p:nvPr/>
        </p:nvSpPr>
        <p:spPr>
          <a:xfrm>
            <a:off x="613967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4" name="object 2644"/>
          <p:cNvSpPr/>
          <p:nvPr/>
        </p:nvSpPr>
        <p:spPr>
          <a:xfrm>
            <a:off x="61451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5" name="object 2645"/>
          <p:cNvSpPr/>
          <p:nvPr/>
        </p:nvSpPr>
        <p:spPr>
          <a:xfrm>
            <a:off x="615240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6" name="object 2646"/>
          <p:cNvSpPr/>
          <p:nvPr/>
        </p:nvSpPr>
        <p:spPr>
          <a:xfrm>
            <a:off x="61578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7" name="object 2647"/>
          <p:cNvSpPr/>
          <p:nvPr/>
        </p:nvSpPr>
        <p:spPr>
          <a:xfrm>
            <a:off x="616512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8" name="object 2648"/>
          <p:cNvSpPr/>
          <p:nvPr/>
        </p:nvSpPr>
        <p:spPr>
          <a:xfrm>
            <a:off x="61705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49" name="object 2649"/>
          <p:cNvSpPr/>
          <p:nvPr/>
        </p:nvSpPr>
        <p:spPr>
          <a:xfrm>
            <a:off x="617785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0" name="object 2650"/>
          <p:cNvSpPr/>
          <p:nvPr/>
        </p:nvSpPr>
        <p:spPr>
          <a:xfrm>
            <a:off x="618330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1" name="object 2651"/>
          <p:cNvSpPr/>
          <p:nvPr/>
        </p:nvSpPr>
        <p:spPr>
          <a:xfrm>
            <a:off x="619057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2" name="object 2652"/>
          <p:cNvSpPr/>
          <p:nvPr/>
        </p:nvSpPr>
        <p:spPr>
          <a:xfrm>
            <a:off x="61960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3" name="object 2653"/>
          <p:cNvSpPr/>
          <p:nvPr/>
        </p:nvSpPr>
        <p:spPr>
          <a:xfrm>
            <a:off x="620330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4" name="object 2654"/>
          <p:cNvSpPr/>
          <p:nvPr/>
        </p:nvSpPr>
        <p:spPr>
          <a:xfrm>
            <a:off x="62087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5" name="object 2655"/>
          <p:cNvSpPr/>
          <p:nvPr/>
        </p:nvSpPr>
        <p:spPr>
          <a:xfrm>
            <a:off x="6216027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6" name="object 2656"/>
          <p:cNvSpPr/>
          <p:nvPr/>
        </p:nvSpPr>
        <p:spPr>
          <a:xfrm>
            <a:off x="622148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7" name="object 2657"/>
          <p:cNvSpPr/>
          <p:nvPr/>
        </p:nvSpPr>
        <p:spPr>
          <a:xfrm>
            <a:off x="622875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8" name="object 2658"/>
          <p:cNvSpPr/>
          <p:nvPr/>
        </p:nvSpPr>
        <p:spPr>
          <a:xfrm>
            <a:off x="62342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59" name="object 2659"/>
          <p:cNvSpPr/>
          <p:nvPr/>
        </p:nvSpPr>
        <p:spPr>
          <a:xfrm>
            <a:off x="624147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0" name="object 2660"/>
          <p:cNvSpPr/>
          <p:nvPr/>
        </p:nvSpPr>
        <p:spPr>
          <a:xfrm>
            <a:off x="62469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1" name="object 2661"/>
          <p:cNvSpPr/>
          <p:nvPr/>
        </p:nvSpPr>
        <p:spPr>
          <a:xfrm>
            <a:off x="62542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2" name="object 2662"/>
          <p:cNvSpPr/>
          <p:nvPr/>
        </p:nvSpPr>
        <p:spPr>
          <a:xfrm>
            <a:off x="625965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3" name="object 2663"/>
          <p:cNvSpPr/>
          <p:nvPr/>
        </p:nvSpPr>
        <p:spPr>
          <a:xfrm>
            <a:off x="62669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4" name="object 2664"/>
          <p:cNvSpPr/>
          <p:nvPr/>
        </p:nvSpPr>
        <p:spPr>
          <a:xfrm>
            <a:off x="627238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5" name="object 2665"/>
          <p:cNvSpPr/>
          <p:nvPr/>
        </p:nvSpPr>
        <p:spPr>
          <a:xfrm>
            <a:off x="627965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6" name="object 2666"/>
          <p:cNvSpPr/>
          <p:nvPr/>
        </p:nvSpPr>
        <p:spPr>
          <a:xfrm>
            <a:off x="628510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7" name="object 2667"/>
          <p:cNvSpPr/>
          <p:nvPr/>
        </p:nvSpPr>
        <p:spPr>
          <a:xfrm>
            <a:off x="629237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8" name="object 2668"/>
          <p:cNvSpPr/>
          <p:nvPr/>
        </p:nvSpPr>
        <p:spPr>
          <a:xfrm>
            <a:off x="629783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69" name="object 2669"/>
          <p:cNvSpPr/>
          <p:nvPr/>
        </p:nvSpPr>
        <p:spPr>
          <a:xfrm>
            <a:off x="630510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0" name="object 2670"/>
          <p:cNvSpPr/>
          <p:nvPr/>
        </p:nvSpPr>
        <p:spPr>
          <a:xfrm>
            <a:off x="631055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1" name="object 2671"/>
          <p:cNvSpPr/>
          <p:nvPr/>
        </p:nvSpPr>
        <p:spPr>
          <a:xfrm>
            <a:off x="631782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2" name="object 2672"/>
          <p:cNvSpPr/>
          <p:nvPr/>
        </p:nvSpPr>
        <p:spPr>
          <a:xfrm>
            <a:off x="632328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3" name="object 2673"/>
          <p:cNvSpPr/>
          <p:nvPr/>
        </p:nvSpPr>
        <p:spPr>
          <a:xfrm>
            <a:off x="633055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4" name="object 2674"/>
          <p:cNvSpPr/>
          <p:nvPr/>
        </p:nvSpPr>
        <p:spPr>
          <a:xfrm>
            <a:off x="633600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5" name="object 2675"/>
          <p:cNvSpPr/>
          <p:nvPr/>
        </p:nvSpPr>
        <p:spPr>
          <a:xfrm>
            <a:off x="634327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6" name="object 2676"/>
          <p:cNvSpPr/>
          <p:nvPr/>
        </p:nvSpPr>
        <p:spPr>
          <a:xfrm>
            <a:off x="634873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7" name="object 2677"/>
          <p:cNvSpPr/>
          <p:nvPr/>
        </p:nvSpPr>
        <p:spPr>
          <a:xfrm>
            <a:off x="63560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8" name="object 2678"/>
          <p:cNvSpPr/>
          <p:nvPr/>
        </p:nvSpPr>
        <p:spPr>
          <a:xfrm>
            <a:off x="636145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79" name="object 2679"/>
          <p:cNvSpPr/>
          <p:nvPr/>
        </p:nvSpPr>
        <p:spPr>
          <a:xfrm>
            <a:off x="63687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0" name="object 2680"/>
          <p:cNvSpPr/>
          <p:nvPr/>
        </p:nvSpPr>
        <p:spPr>
          <a:xfrm>
            <a:off x="637418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1" name="object 2681"/>
          <p:cNvSpPr/>
          <p:nvPr/>
        </p:nvSpPr>
        <p:spPr>
          <a:xfrm>
            <a:off x="63814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2" name="object 2682"/>
          <p:cNvSpPr/>
          <p:nvPr/>
        </p:nvSpPr>
        <p:spPr>
          <a:xfrm>
            <a:off x="638690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3" name="object 2683"/>
          <p:cNvSpPr/>
          <p:nvPr/>
        </p:nvSpPr>
        <p:spPr>
          <a:xfrm>
            <a:off x="63941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4" name="object 2684"/>
          <p:cNvSpPr/>
          <p:nvPr/>
        </p:nvSpPr>
        <p:spPr>
          <a:xfrm>
            <a:off x="6399633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5" name="object 2685"/>
          <p:cNvSpPr/>
          <p:nvPr/>
        </p:nvSpPr>
        <p:spPr>
          <a:xfrm>
            <a:off x="640690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6" name="object 2686"/>
          <p:cNvSpPr/>
          <p:nvPr/>
        </p:nvSpPr>
        <p:spPr>
          <a:xfrm>
            <a:off x="641235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7" name="object 2687"/>
          <p:cNvSpPr/>
          <p:nvPr/>
        </p:nvSpPr>
        <p:spPr>
          <a:xfrm>
            <a:off x="64196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8" name="object 2688"/>
          <p:cNvSpPr/>
          <p:nvPr/>
        </p:nvSpPr>
        <p:spPr>
          <a:xfrm>
            <a:off x="642508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89" name="object 2689"/>
          <p:cNvSpPr/>
          <p:nvPr/>
        </p:nvSpPr>
        <p:spPr>
          <a:xfrm>
            <a:off x="6432355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0" name="object 2690"/>
          <p:cNvSpPr/>
          <p:nvPr/>
        </p:nvSpPr>
        <p:spPr>
          <a:xfrm>
            <a:off x="6437809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1" name="object 2691"/>
          <p:cNvSpPr/>
          <p:nvPr/>
        </p:nvSpPr>
        <p:spPr>
          <a:xfrm>
            <a:off x="64450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2" name="object 2692"/>
          <p:cNvSpPr/>
          <p:nvPr/>
        </p:nvSpPr>
        <p:spPr>
          <a:xfrm>
            <a:off x="6450534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3" name="object 2693"/>
          <p:cNvSpPr/>
          <p:nvPr/>
        </p:nvSpPr>
        <p:spPr>
          <a:xfrm>
            <a:off x="64578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4" name="object 2694"/>
          <p:cNvSpPr/>
          <p:nvPr/>
        </p:nvSpPr>
        <p:spPr>
          <a:xfrm>
            <a:off x="6463258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5" name="object 2695"/>
          <p:cNvSpPr/>
          <p:nvPr/>
        </p:nvSpPr>
        <p:spPr>
          <a:xfrm>
            <a:off x="6470531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6" name="object 2696"/>
          <p:cNvSpPr/>
          <p:nvPr/>
        </p:nvSpPr>
        <p:spPr>
          <a:xfrm>
            <a:off x="647780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7" name="object 2697"/>
          <p:cNvSpPr/>
          <p:nvPr/>
        </p:nvSpPr>
        <p:spPr>
          <a:xfrm>
            <a:off x="6483257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8" name="object 2698"/>
          <p:cNvSpPr/>
          <p:nvPr/>
        </p:nvSpPr>
        <p:spPr>
          <a:xfrm>
            <a:off x="649052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699" name="object 2699"/>
          <p:cNvSpPr/>
          <p:nvPr/>
        </p:nvSpPr>
        <p:spPr>
          <a:xfrm>
            <a:off x="649598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0" name="object 2700"/>
          <p:cNvSpPr/>
          <p:nvPr/>
        </p:nvSpPr>
        <p:spPr>
          <a:xfrm>
            <a:off x="6503252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1" name="object 2701"/>
          <p:cNvSpPr/>
          <p:nvPr/>
        </p:nvSpPr>
        <p:spPr>
          <a:xfrm>
            <a:off x="65087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2" name="object 2702"/>
          <p:cNvSpPr/>
          <p:nvPr/>
        </p:nvSpPr>
        <p:spPr>
          <a:xfrm>
            <a:off x="6515979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3" name="object 2703"/>
          <p:cNvSpPr/>
          <p:nvPr/>
        </p:nvSpPr>
        <p:spPr>
          <a:xfrm>
            <a:off x="6521430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4" name="object 2704"/>
          <p:cNvSpPr/>
          <p:nvPr/>
        </p:nvSpPr>
        <p:spPr>
          <a:xfrm>
            <a:off x="6528703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5" name="object 2705"/>
          <p:cNvSpPr/>
          <p:nvPr/>
        </p:nvSpPr>
        <p:spPr>
          <a:xfrm>
            <a:off x="653415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6" name="object 2706"/>
          <p:cNvSpPr/>
          <p:nvPr/>
        </p:nvSpPr>
        <p:spPr>
          <a:xfrm>
            <a:off x="654142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7" name="object 2707"/>
          <p:cNvSpPr/>
          <p:nvPr/>
        </p:nvSpPr>
        <p:spPr>
          <a:xfrm>
            <a:off x="654688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8" name="object 2708"/>
          <p:cNvSpPr/>
          <p:nvPr/>
        </p:nvSpPr>
        <p:spPr>
          <a:xfrm>
            <a:off x="655415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09" name="object 2709"/>
          <p:cNvSpPr/>
          <p:nvPr/>
        </p:nvSpPr>
        <p:spPr>
          <a:xfrm>
            <a:off x="6559606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0" name="object 2710"/>
          <p:cNvSpPr/>
          <p:nvPr/>
        </p:nvSpPr>
        <p:spPr>
          <a:xfrm>
            <a:off x="656687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1" name="object 2711"/>
          <p:cNvSpPr/>
          <p:nvPr/>
        </p:nvSpPr>
        <p:spPr>
          <a:xfrm>
            <a:off x="6572332" y="4567034"/>
            <a:ext cx="3788" cy="0"/>
          </a:xfrm>
          <a:custGeom>
            <a:avLst/>
            <a:gdLst/>
            <a:ahLst/>
            <a:cxnLst/>
            <a:rect l="l" t="t" r="r" b="b"/>
            <a:pathLst>
              <a:path w="3175">
                <a:moveTo>
                  <a:pt x="0" y="0"/>
                </a:moveTo>
                <a:lnTo>
                  <a:pt x="3047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2" name="object 2712"/>
          <p:cNvSpPr/>
          <p:nvPr/>
        </p:nvSpPr>
        <p:spPr>
          <a:xfrm>
            <a:off x="6579604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3" name="object 2713"/>
          <p:cNvSpPr/>
          <p:nvPr/>
        </p:nvSpPr>
        <p:spPr>
          <a:xfrm>
            <a:off x="6585058" y="4567034"/>
            <a:ext cx="2272" cy="0"/>
          </a:xfrm>
          <a:custGeom>
            <a:avLst/>
            <a:gdLst/>
            <a:ahLst/>
            <a:cxnLst/>
            <a:rect l="l" t="t" r="r" b="b"/>
            <a:pathLst>
              <a:path w="1904">
                <a:moveTo>
                  <a:pt x="0" y="0"/>
                </a:moveTo>
                <a:lnTo>
                  <a:pt x="1523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4" name="object 2714"/>
          <p:cNvSpPr/>
          <p:nvPr/>
        </p:nvSpPr>
        <p:spPr>
          <a:xfrm>
            <a:off x="2571184" y="921194"/>
            <a:ext cx="1370678" cy="13688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5" name="object 2715"/>
          <p:cNvSpPr/>
          <p:nvPr/>
        </p:nvSpPr>
        <p:spPr>
          <a:xfrm>
            <a:off x="2347586" y="3897056"/>
            <a:ext cx="1360378" cy="1360379"/>
          </a:xfrm>
          <a:custGeom>
            <a:avLst/>
            <a:gdLst/>
            <a:ahLst/>
            <a:cxnLst/>
            <a:rect l="l" t="t" r="r" b="b"/>
            <a:pathLst>
              <a:path w="1140460" h="1140460">
                <a:moveTo>
                  <a:pt x="1139951" y="569975"/>
                </a:moveTo>
                <a:lnTo>
                  <a:pt x="1137865" y="520916"/>
                </a:lnTo>
                <a:lnTo>
                  <a:pt x="1131717" y="472991"/>
                </a:lnTo>
                <a:lnTo>
                  <a:pt x="1121678" y="426376"/>
                </a:lnTo>
                <a:lnTo>
                  <a:pt x="1107917" y="381244"/>
                </a:lnTo>
                <a:lnTo>
                  <a:pt x="1090603" y="337767"/>
                </a:lnTo>
                <a:lnTo>
                  <a:pt x="1069906" y="296119"/>
                </a:lnTo>
                <a:lnTo>
                  <a:pt x="1045994" y="256474"/>
                </a:lnTo>
                <a:lnTo>
                  <a:pt x="1019038" y="219004"/>
                </a:lnTo>
                <a:lnTo>
                  <a:pt x="989205" y="183884"/>
                </a:lnTo>
                <a:lnTo>
                  <a:pt x="956667" y="151285"/>
                </a:lnTo>
                <a:lnTo>
                  <a:pt x="921592" y="121383"/>
                </a:lnTo>
                <a:lnTo>
                  <a:pt x="884149" y="94349"/>
                </a:lnTo>
                <a:lnTo>
                  <a:pt x="844507" y="70357"/>
                </a:lnTo>
                <a:lnTo>
                  <a:pt x="802837" y="49581"/>
                </a:lnTo>
                <a:lnTo>
                  <a:pt x="759307" y="32194"/>
                </a:lnTo>
                <a:lnTo>
                  <a:pt x="714086" y="18369"/>
                </a:lnTo>
                <a:lnTo>
                  <a:pt x="667345" y="8279"/>
                </a:lnTo>
                <a:lnTo>
                  <a:pt x="619251" y="2098"/>
                </a:lnTo>
                <a:lnTo>
                  <a:pt x="569975" y="0"/>
                </a:lnTo>
                <a:lnTo>
                  <a:pt x="520700" y="2098"/>
                </a:lnTo>
                <a:lnTo>
                  <a:pt x="472606" y="8279"/>
                </a:lnTo>
                <a:lnTo>
                  <a:pt x="425865" y="18369"/>
                </a:lnTo>
                <a:lnTo>
                  <a:pt x="380644" y="32194"/>
                </a:lnTo>
                <a:lnTo>
                  <a:pt x="337114" y="49581"/>
                </a:lnTo>
                <a:lnTo>
                  <a:pt x="295444" y="70357"/>
                </a:lnTo>
                <a:lnTo>
                  <a:pt x="255802" y="94349"/>
                </a:lnTo>
                <a:lnTo>
                  <a:pt x="218359" y="121383"/>
                </a:lnTo>
                <a:lnTo>
                  <a:pt x="183284" y="151285"/>
                </a:lnTo>
                <a:lnTo>
                  <a:pt x="150746" y="183884"/>
                </a:lnTo>
                <a:lnTo>
                  <a:pt x="120913" y="219004"/>
                </a:lnTo>
                <a:lnTo>
                  <a:pt x="93957" y="256474"/>
                </a:lnTo>
                <a:lnTo>
                  <a:pt x="70045" y="296119"/>
                </a:lnTo>
                <a:lnTo>
                  <a:pt x="49348" y="337767"/>
                </a:lnTo>
                <a:lnTo>
                  <a:pt x="32034" y="381244"/>
                </a:lnTo>
                <a:lnTo>
                  <a:pt x="18273" y="426376"/>
                </a:lnTo>
                <a:lnTo>
                  <a:pt x="8234" y="472991"/>
                </a:lnTo>
                <a:lnTo>
                  <a:pt x="2086" y="520916"/>
                </a:lnTo>
                <a:lnTo>
                  <a:pt x="0" y="569975"/>
                </a:lnTo>
                <a:lnTo>
                  <a:pt x="1884" y="616814"/>
                </a:lnTo>
                <a:lnTo>
                  <a:pt x="7441" y="662594"/>
                </a:lnTo>
                <a:lnTo>
                  <a:pt x="16526" y="707168"/>
                </a:lnTo>
                <a:lnTo>
                  <a:pt x="28992" y="750393"/>
                </a:lnTo>
                <a:lnTo>
                  <a:pt x="44696" y="792122"/>
                </a:lnTo>
                <a:lnTo>
                  <a:pt x="63491" y="832212"/>
                </a:lnTo>
                <a:lnTo>
                  <a:pt x="85233" y="870516"/>
                </a:lnTo>
                <a:lnTo>
                  <a:pt x="109776" y="906889"/>
                </a:lnTo>
                <a:lnTo>
                  <a:pt x="136976" y="941187"/>
                </a:lnTo>
                <a:lnTo>
                  <a:pt x="166687" y="973264"/>
                </a:lnTo>
                <a:lnTo>
                  <a:pt x="198764" y="1002975"/>
                </a:lnTo>
                <a:lnTo>
                  <a:pt x="233062" y="1030175"/>
                </a:lnTo>
                <a:lnTo>
                  <a:pt x="269435" y="1054718"/>
                </a:lnTo>
                <a:lnTo>
                  <a:pt x="307739" y="1076460"/>
                </a:lnTo>
                <a:lnTo>
                  <a:pt x="347829" y="1095255"/>
                </a:lnTo>
                <a:lnTo>
                  <a:pt x="389558" y="1110959"/>
                </a:lnTo>
                <a:lnTo>
                  <a:pt x="432783" y="1123425"/>
                </a:lnTo>
                <a:lnTo>
                  <a:pt x="477357" y="1132510"/>
                </a:lnTo>
                <a:lnTo>
                  <a:pt x="523137" y="1138067"/>
                </a:lnTo>
                <a:lnTo>
                  <a:pt x="569975" y="1139951"/>
                </a:lnTo>
                <a:lnTo>
                  <a:pt x="616814" y="1138067"/>
                </a:lnTo>
                <a:lnTo>
                  <a:pt x="662594" y="1132510"/>
                </a:lnTo>
                <a:lnTo>
                  <a:pt x="707168" y="1123425"/>
                </a:lnTo>
                <a:lnTo>
                  <a:pt x="750393" y="1110959"/>
                </a:lnTo>
                <a:lnTo>
                  <a:pt x="792122" y="1095255"/>
                </a:lnTo>
                <a:lnTo>
                  <a:pt x="832212" y="1076460"/>
                </a:lnTo>
                <a:lnTo>
                  <a:pt x="870516" y="1054718"/>
                </a:lnTo>
                <a:lnTo>
                  <a:pt x="906889" y="1030175"/>
                </a:lnTo>
                <a:lnTo>
                  <a:pt x="941187" y="1002975"/>
                </a:lnTo>
                <a:lnTo>
                  <a:pt x="973264" y="973264"/>
                </a:lnTo>
                <a:lnTo>
                  <a:pt x="1002975" y="941187"/>
                </a:lnTo>
                <a:lnTo>
                  <a:pt x="1030175" y="906889"/>
                </a:lnTo>
                <a:lnTo>
                  <a:pt x="1054718" y="870516"/>
                </a:lnTo>
                <a:lnTo>
                  <a:pt x="1076460" y="832212"/>
                </a:lnTo>
                <a:lnTo>
                  <a:pt x="1095255" y="792122"/>
                </a:lnTo>
                <a:lnTo>
                  <a:pt x="1110959" y="750393"/>
                </a:lnTo>
                <a:lnTo>
                  <a:pt x="1123425" y="707168"/>
                </a:lnTo>
                <a:lnTo>
                  <a:pt x="1132510" y="662594"/>
                </a:lnTo>
                <a:lnTo>
                  <a:pt x="1138067" y="616814"/>
                </a:lnTo>
                <a:lnTo>
                  <a:pt x="1139951" y="5699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6" name="object 2716"/>
          <p:cNvSpPr/>
          <p:nvPr/>
        </p:nvSpPr>
        <p:spPr>
          <a:xfrm>
            <a:off x="2342132" y="3893422"/>
            <a:ext cx="1370983" cy="1369467"/>
          </a:xfrm>
          <a:custGeom>
            <a:avLst/>
            <a:gdLst/>
            <a:ahLst/>
            <a:cxnLst/>
            <a:rect l="l" t="t" r="r" b="b"/>
            <a:pathLst>
              <a:path w="1149350" h="1148079">
                <a:moveTo>
                  <a:pt x="1149095" y="573023"/>
                </a:moveTo>
                <a:lnTo>
                  <a:pt x="1146047" y="515111"/>
                </a:lnTo>
                <a:lnTo>
                  <a:pt x="1136903" y="457199"/>
                </a:lnTo>
                <a:lnTo>
                  <a:pt x="1123187" y="402335"/>
                </a:lnTo>
                <a:lnTo>
                  <a:pt x="1092707" y="324611"/>
                </a:lnTo>
                <a:lnTo>
                  <a:pt x="1065275" y="275843"/>
                </a:lnTo>
                <a:lnTo>
                  <a:pt x="1034795" y="230123"/>
                </a:lnTo>
                <a:lnTo>
                  <a:pt x="999743" y="187451"/>
                </a:lnTo>
                <a:lnTo>
                  <a:pt x="940307" y="131063"/>
                </a:lnTo>
                <a:lnTo>
                  <a:pt x="917447" y="114299"/>
                </a:lnTo>
                <a:lnTo>
                  <a:pt x="896111" y="97535"/>
                </a:lnTo>
                <a:lnTo>
                  <a:pt x="871727" y="82295"/>
                </a:lnTo>
                <a:lnTo>
                  <a:pt x="848867" y="68579"/>
                </a:lnTo>
                <a:lnTo>
                  <a:pt x="822959" y="56387"/>
                </a:lnTo>
                <a:lnTo>
                  <a:pt x="798575" y="44195"/>
                </a:lnTo>
                <a:lnTo>
                  <a:pt x="745235" y="25907"/>
                </a:lnTo>
                <a:lnTo>
                  <a:pt x="690371" y="10667"/>
                </a:lnTo>
                <a:lnTo>
                  <a:pt x="633983" y="3047"/>
                </a:lnTo>
                <a:lnTo>
                  <a:pt x="603503" y="0"/>
                </a:lnTo>
                <a:lnTo>
                  <a:pt x="545591" y="0"/>
                </a:lnTo>
                <a:lnTo>
                  <a:pt x="487679" y="6095"/>
                </a:lnTo>
                <a:lnTo>
                  <a:pt x="403859" y="25907"/>
                </a:lnTo>
                <a:lnTo>
                  <a:pt x="350519" y="44195"/>
                </a:lnTo>
                <a:lnTo>
                  <a:pt x="326135" y="56387"/>
                </a:lnTo>
                <a:lnTo>
                  <a:pt x="300227" y="68579"/>
                </a:lnTo>
                <a:lnTo>
                  <a:pt x="277367" y="82295"/>
                </a:lnTo>
                <a:lnTo>
                  <a:pt x="252983" y="97535"/>
                </a:lnTo>
                <a:lnTo>
                  <a:pt x="231647" y="114299"/>
                </a:lnTo>
                <a:lnTo>
                  <a:pt x="208787" y="131063"/>
                </a:lnTo>
                <a:lnTo>
                  <a:pt x="169163" y="167639"/>
                </a:lnTo>
                <a:lnTo>
                  <a:pt x="131063" y="208787"/>
                </a:lnTo>
                <a:lnTo>
                  <a:pt x="83819" y="275843"/>
                </a:lnTo>
                <a:lnTo>
                  <a:pt x="56387" y="324611"/>
                </a:lnTo>
                <a:lnTo>
                  <a:pt x="35051" y="376427"/>
                </a:lnTo>
                <a:lnTo>
                  <a:pt x="18287" y="429767"/>
                </a:lnTo>
                <a:lnTo>
                  <a:pt x="3047" y="515111"/>
                </a:lnTo>
                <a:lnTo>
                  <a:pt x="0" y="574547"/>
                </a:lnTo>
                <a:lnTo>
                  <a:pt x="3047" y="632459"/>
                </a:lnTo>
                <a:lnTo>
                  <a:pt x="9143" y="670559"/>
                </a:lnTo>
                <a:lnTo>
                  <a:pt x="9143" y="544067"/>
                </a:lnTo>
                <a:lnTo>
                  <a:pt x="15239" y="487679"/>
                </a:lnTo>
                <a:lnTo>
                  <a:pt x="25907" y="432815"/>
                </a:lnTo>
                <a:lnTo>
                  <a:pt x="42671" y="379475"/>
                </a:lnTo>
                <a:lnTo>
                  <a:pt x="64007" y="327659"/>
                </a:lnTo>
                <a:lnTo>
                  <a:pt x="89915" y="280415"/>
                </a:lnTo>
                <a:lnTo>
                  <a:pt x="120395" y="234695"/>
                </a:lnTo>
                <a:lnTo>
                  <a:pt x="138683" y="213359"/>
                </a:lnTo>
                <a:lnTo>
                  <a:pt x="155447" y="193547"/>
                </a:lnTo>
                <a:lnTo>
                  <a:pt x="173735" y="173735"/>
                </a:lnTo>
                <a:lnTo>
                  <a:pt x="193547" y="153923"/>
                </a:lnTo>
                <a:lnTo>
                  <a:pt x="257555" y="103631"/>
                </a:lnTo>
                <a:lnTo>
                  <a:pt x="281939" y="89915"/>
                </a:lnTo>
                <a:lnTo>
                  <a:pt x="304799" y="76199"/>
                </a:lnTo>
                <a:lnTo>
                  <a:pt x="355091" y="51815"/>
                </a:lnTo>
                <a:lnTo>
                  <a:pt x="406907" y="33527"/>
                </a:lnTo>
                <a:lnTo>
                  <a:pt x="460247" y="19811"/>
                </a:lnTo>
                <a:lnTo>
                  <a:pt x="516635" y="10667"/>
                </a:lnTo>
                <a:lnTo>
                  <a:pt x="545591" y="7619"/>
                </a:lnTo>
                <a:lnTo>
                  <a:pt x="574547" y="7619"/>
                </a:lnTo>
                <a:lnTo>
                  <a:pt x="632459" y="10667"/>
                </a:lnTo>
                <a:lnTo>
                  <a:pt x="716279" y="25907"/>
                </a:lnTo>
                <a:lnTo>
                  <a:pt x="795527" y="51815"/>
                </a:lnTo>
                <a:lnTo>
                  <a:pt x="844295" y="76199"/>
                </a:lnTo>
                <a:lnTo>
                  <a:pt x="891539" y="103631"/>
                </a:lnTo>
                <a:lnTo>
                  <a:pt x="934211" y="137159"/>
                </a:lnTo>
                <a:lnTo>
                  <a:pt x="975359" y="173735"/>
                </a:lnTo>
                <a:lnTo>
                  <a:pt x="1011935" y="213359"/>
                </a:lnTo>
                <a:lnTo>
                  <a:pt x="1059179" y="280415"/>
                </a:lnTo>
                <a:lnTo>
                  <a:pt x="1085087" y="327659"/>
                </a:lnTo>
                <a:lnTo>
                  <a:pt x="1106423" y="379475"/>
                </a:lnTo>
                <a:lnTo>
                  <a:pt x="1123187" y="432815"/>
                </a:lnTo>
                <a:lnTo>
                  <a:pt x="1138427" y="516635"/>
                </a:lnTo>
                <a:lnTo>
                  <a:pt x="1139951" y="544067"/>
                </a:lnTo>
                <a:lnTo>
                  <a:pt x="1139951" y="670559"/>
                </a:lnTo>
                <a:lnTo>
                  <a:pt x="1146047" y="632459"/>
                </a:lnTo>
                <a:lnTo>
                  <a:pt x="1149095" y="573023"/>
                </a:lnTo>
                <a:close/>
              </a:path>
              <a:path w="1149350" h="1148079">
                <a:moveTo>
                  <a:pt x="1139951" y="670559"/>
                </a:moveTo>
                <a:lnTo>
                  <a:pt x="1139951" y="603503"/>
                </a:lnTo>
                <a:lnTo>
                  <a:pt x="1138427" y="630935"/>
                </a:lnTo>
                <a:lnTo>
                  <a:pt x="1129283" y="687323"/>
                </a:lnTo>
                <a:lnTo>
                  <a:pt x="1115567" y="742187"/>
                </a:lnTo>
                <a:lnTo>
                  <a:pt x="1095755" y="794003"/>
                </a:lnTo>
                <a:lnTo>
                  <a:pt x="1072895" y="842771"/>
                </a:lnTo>
                <a:lnTo>
                  <a:pt x="1028699" y="912875"/>
                </a:lnTo>
                <a:lnTo>
                  <a:pt x="975359" y="973835"/>
                </a:lnTo>
                <a:lnTo>
                  <a:pt x="934211" y="1010411"/>
                </a:lnTo>
                <a:lnTo>
                  <a:pt x="891539" y="1042415"/>
                </a:lnTo>
                <a:lnTo>
                  <a:pt x="844295" y="1071371"/>
                </a:lnTo>
                <a:lnTo>
                  <a:pt x="795527" y="1095755"/>
                </a:lnTo>
                <a:lnTo>
                  <a:pt x="742187" y="1114043"/>
                </a:lnTo>
                <a:lnTo>
                  <a:pt x="661415" y="1133855"/>
                </a:lnTo>
                <a:lnTo>
                  <a:pt x="574547" y="1139951"/>
                </a:lnTo>
                <a:lnTo>
                  <a:pt x="516635" y="1136903"/>
                </a:lnTo>
                <a:lnTo>
                  <a:pt x="432815" y="1121663"/>
                </a:lnTo>
                <a:lnTo>
                  <a:pt x="379475" y="1104899"/>
                </a:lnTo>
                <a:lnTo>
                  <a:pt x="304799" y="1071371"/>
                </a:lnTo>
                <a:lnTo>
                  <a:pt x="257555" y="1042415"/>
                </a:lnTo>
                <a:lnTo>
                  <a:pt x="214883" y="1010411"/>
                </a:lnTo>
                <a:lnTo>
                  <a:pt x="173735" y="973835"/>
                </a:lnTo>
                <a:lnTo>
                  <a:pt x="137159" y="934211"/>
                </a:lnTo>
                <a:lnTo>
                  <a:pt x="89915" y="867155"/>
                </a:lnTo>
                <a:lnTo>
                  <a:pt x="64007" y="818387"/>
                </a:lnTo>
                <a:lnTo>
                  <a:pt x="42671" y="768095"/>
                </a:lnTo>
                <a:lnTo>
                  <a:pt x="25907" y="714755"/>
                </a:lnTo>
                <a:lnTo>
                  <a:pt x="15239" y="659891"/>
                </a:lnTo>
                <a:lnTo>
                  <a:pt x="9143" y="601979"/>
                </a:lnTo>
                <a:lnTo>
                  <a:pt x="9143" y="670559"/>
                </a:lnTo>
                <a:lnTo>
                  <a:pt x="18287" y="717803"/>
                </a:lnTo>
                <a:lnTo>
                  <a:pt x="35051" y="771143"/>
                </a:lnTo>
                <a:lnTo>
                  <a:pt x="57911" y="822959"/>
                </a:lnTo>
                <a:lnTo>
                  <a:pt x="83819" y="871727"/>
                </a:lnTo>
                <a:lnTo>
                  <a:pt x="114299" y="917447"/>
                </a:lnTo>
                <a:lnTo>
                  <a:pt x="149351" y="960119"/>
                </a:lnTo>
                <a:lnTo>
                  <a:pt x="188975" y="998219"/>
                </a:lnTo>
                <a:lnTo>
                  <a:pt x="231647" y="1033271"/>
                </a:lnTo>
                <a:lnTo>
                  <a:pt x="277367" y="1065275"/>
                </a:lnTo>
                <a:lnTo>
                  <a:pt x="326135" y="1091183"/>
                </a:lnTo>
                <a:lnTo>
                  <a:pt x="403859" y="1121663"/>
                </a:lnTo>
                <a:lnTo>
                  <a:pt x="458723" y="1135379"/>
                </a:lnTo>
                <a:lnTo>
                  <a:pt x="545591" y="1147571"/>
                </a:lnTo>
                <a:lnTo>
                  <a:pt x="605027" y="1147571"/>
                </a:lnTo>
                <a:lnTo>
                  <a:pt x="661415" y="1141475"/>
                </a:lnTo>
                <a:lnTo>
                  <a:pt x="717803" y="1129283"/>
                </a:lnTo>
                <a:lnTo>
                  <a:pt x="772667" y="1112519"/>
                </a:lnTo>
                <a:lnTo>
                  <a:pt x="822959" y="1091183"/>
                </a:lnTo>
                <a:lnTo>
                  <a:pt x="871727" y="1065275"/>
                </a:lnTo>
                <a:lnTo>
                  <a:pt x="917447" y="1033271"/>
                </a:lnTo>
                <a:lnTo>
                  <a:pt x="940307" y="1016507"/>
                </a:lnTo>
                <a:lnTo>
                  <a:pt x="979931" y="979931"/>
                </a:lnTo>
                <a:lnTo>
                  <a:pt x="1018031" y="938783"/>
                </a:lnTo>
                <a:lnTo>
                  <a:pt x="1065275" y="871727"/>
                </a:lnTo>
                <a:lnTo>
                  <a:pt x="1092707" y="822959"/>
                </a:lnTo>
                <a:lnTo>
                  <a:pt x="1114043" y="771143"/>
                </a:lnTo>
                <a:lnTo>
                  <a:pt x="1130807" y="717803"/>
                </a:lnTo>
                <a:lnTo>
                  <a:pt x="1136903" y="688847"/>
                </a:lnTo>
                <a:lnTo>
                  <a:pt x="1139951" y="670559"/>
                </a:lnTo>
                <a:close/>
              </a:path>
            </a:pathLst>
          </a:custGeom>
          <a:solidFill>
            <a:srgbClr val="1F3FE6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7" name="object 2717"/>
          <p:cNvSpPr/>
          <p:nvPr/>
        </p:nvSpPr>
        <p:spPr>
          <a:xfrm>
            <a:off x="2718431" y="4017039"/>
            <a:ext cx="523549" cy="24722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8" name="object 2718"/>
          <p:cNvSpPr/>
          <p:nvPr/>
        </p:nvSpPr>
        <p:spPr>
          <a:xfrm>
            <a:off x="2400304" y="4396973"/>
            <a:ext cx="761689" cy="28540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19" name="object 2719"/>
          <p:cNvSpPr/>
          <p:nvPr/>
        </p:nvSpPr>
        <p:spPr>
          <a:xfrm>
            <a:off x="3009293" y="4322441"/>
            <a:ext cx="650798" cy="16360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0" name="object 2720"/>
          <p:cNvSpPr/>
          <p:nvPr/>
        </p:nvSpPr>
        <p:spPr>
          <a:xfrm>
            <a:off x="3005659" y="4736916"/>
            <a:ext cx="565358" cy="15451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1" name="object 2721"/>
          <p:cNvSpPr txBox="1"/>
          <p:nvPr/>
        </p:nvSpPr>
        <p:spPr>
          <a:xfrm>
            <a:off x="2621478" y="4941727"/>
            <a:ext cx="755934" cy="116486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10983">
              <a:spcBef>
                <a:spcPts val="78"/>
              </a:spcBef>
            </a:pPr>
            <a:r>
              <a:rPr sz="692" spc="-9" dirty="0">
                <a:solidFill>
                  <a:srgbClr val="656565"/>
                </a:solidFill>
                <a:latin typeface="+mn-lt"/>
                <a:cs typeface="Arial"/>
              </a:rPr>
              <a:t>…and</a:t>
            </a:r>
            <a:r>
              <a:rPr sz="692" spc="-69" dirty="0">
                <a:solidFill>
                  <a:srgbClr val="656565"/>
                </a:solidFill>
                <a:latin typeface="+mn-lt"/>
                <a:cs typeface="Arial"/>
              </a:rPr>
              <a:t> </a:t>
            </a:r>
            <a:r>
              <a:rPr sz="692" spc="-9" dirty="0">
                <a:solidFill>
                  <a:srgbClr val="656565"/>
                </a:solidFill>
                <a:latin typeface="+mn-lt"/>
                <a:cs typeface="Arial"/>
              </a:rPr>
              <a:t>others</a:t>
            </a:r>
            <a:endParaRPr sz="692" dirty="0">
              <a:latin typeface="+mn-lt"/>
              <a:cs typeface="Arial"/>
            </a:endParaRPr>
          </a:p>
        </p:txBody>
      </p:sp>
      <p:sp>
        <p:nvSpPr>
          <p:cNvPr id="2722" name="object 2722"/>
          <p:cNvSpPr/>
          <p:nvPr/>
        </p:nvSpPr>
        <p:spPr>
          <a:xfrm>
            <a:off x="7170413" y="1193876"/>
            <a:ext cx="1019827" cy="67624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3" name="object 2723"/>
          <p:cNvSpPr/>
          <p:nvPr/>
        </p:nvSpPr>
        <p:spPr>
          <a:xfrm>
            <a:off x="7323115" y="3953411"/>
            <a:ext cx="1360378" cy="1360379"/>
          </a:xfrm>
          <a:custGeom>
            <a:avLst/>
            <a:gdLst/>
            <a:ahLst/>
            <a:cxnLst/>
            <a:rect l="l" t="t" r="r" b="b"/>
            <a:pathLst>
              <a:path w="1140459" h="1140460">
                <a:moveTo>
                  <a:pt x="1139951" y="569975"/>
                </a:moveTo>
                <a:lnTo>
                  <a:pt x="1137865" y="520916"/>
                </a:lnTo>
                <a:lnTo>
                  <a:pt x="1131717" y="472991"/>
                </a:lnTo>
                <a:lnTo>
                  <a:pt x="1121678" y="426376"/>
                </a:lnTo>
                <a:lnTo>
                  <a:pt x="1107917" y="381244"/>
                </a:lnTo>
                <a:lnTo>
                  <a:pt x="1090603" y="337767"/>
                </a:lnTo>
                <a:lnTo>
                  <a:pt x="1069906" y="296119"/>
                </a:lnTo>
                <a:lnTo>
                  <a:pt x="1045994" y="256474"/>
                </a:lnTo>
                <a:lnTo>
                  <a:pt x="1019038" y="219004"/>
                </a:lnTo>
                <a:lnTo>
                  <a:pt x="989205" y="183884"/>
                </a:lnTo>
                <a:lnTo>
                  <a:pt x="956667" y="151285"/>
                </a:lnTo>
                <a:lnTo>
                  <a:pt x="921592" y="121383"/>
                </a:lnTo>
                <a:lnTo>
                  <a:pt x="884149" y="94349"/>
                </a:lnTo>
                <a:lnTo>
                  <a:pt x="844507" y="70357"/>
                </a:lnTo>
                <a:lnTo>
                  <a:pt x="802837" y="49581"/>
                </a:lnTo>
                <a:lnTo>
                  <a:pt x="759307" y="32194"/>
                </a:lnTo>
                <a:lnTo>
                  <a:pt x="714086" y="18369"/>
                </a:lnTo>
                <a:lnTo>
                  <a:pt x="667345" y="8279"/>
                </a:lnTo>
                <a:lnTo>
                  <a:pt x="619251" y="2098"/>
                </a:lnTo>
                <a:lnTo>
                  <a:pt x="569975" y="0"/>
                </a:lnTo>
                <a:lnTo>
                  <a:pt x="520916" y="2098"/>
                </a:lnTo>
                <a:lnTo>
                  <a:pt x="472991" y="8279"/>
                </a:lnTo>
                <a:lnTo>
                  <a:pt x="426376" y="18369"/>
                </a:lnTo>
                <a:lnTo>
                  <a:pt x="381244" y="32194"/>
                </a:lnTo>
                <a:lnTo>
                  <a:pt x="337767" y="49581"/>
                </a:lnTo>
                <a:lnTo>
                  <a:pt x="296119" y="70357"/>
                </a:lnTo>
                <a:lnTo>
                  <a:pt x="256474" y="94349"/>
                </a:lnTo>
                <a:lnTo>
                  <a:pt x="219004" y="121383"/>
                </a:lnTo>
                <a:lnTo>
                  <a:pt x="183884" y="151285"/>
                </a:lnTo>
                <a:lnTo>
                  <a:pt x="151285" y="183884"/>
                </a:lnTo>
                <a:lnTo>
                  <a:pt x="121383" y="219004"/>
                </a:lnTo>
                <a:lnTo>
                  <a:pt x="94349" y="256474"/>
                </a:lnTo>
                <a:lnTo>
                  <a:pt x="70357" y="296119"/>
                </a:lnTo>
                <a:lnTo>
                  <a:pt x="49581" y="337767"/>
                </a:lnTo>
                <a:lnTo>
                  <a:pt x="32194" y="381244"/>
                </a:lnTo>
                <a:lnTo>
                  <a:pt x="18369" y="426376"/>
                </a:lnTo>
                <a:lnTo>
                  <a:pt x="8279" y="472991"/>
                </a:lnTo>
                <a:lnTo>
                  <a:pt x="2098" y="520916"/>
                </a:lnTo>
                <a:lnTo>
                  <a:pt x="0" y="569975"/>
                </a:lnTo>
                <a:lnTo>
                  <a:pt x="2098" y="619251"/>
                </a:lnTo>
                <a:lnTo>
                  <a:pt x="8279" y="667345"/>
                </a:lnTo>
                <a:lnTo>
                  <a:pt x="18369" y="714086"/>
                </a:lnTo>
                <a:lnTo>
                  <a:pt x="32194" y="759307"/>
                </a:lnTo>
                <a:lnTo>
                  <a:pt x="49581" y="802837"/>
                </a:lnTo>
                <a:lnTo>
                  <a:pt x="70357" y="844507"/>
                </a:lnTo>
                <a:lnTo>
                  <a:pt x="94349" y="884149"/>
                </a:lnTo>
                <a:lnTo>
                  <a:pt x="121383" y="921592"/>
                </a:lnTo>
                <a:lnTo>
                  <a:pt x="151285" y="956667"/>
                </a:lnTo>
                <a:lnTo>
                  <a:pt x="183884" y="989205"/>
                </a:lnTo>
                <a:lnTo>
                  <a:pt x="219004" y="1019038"/>
                </a:lnTo>
                <a:lnTo>
                  <a:pt x="256474" y="1045994"/>
                </a:lnTo>
                <a:lnTo>
                  <a:pt x="296119" y="1069906"/>
                </a:lnTo>
                <a:lnTo>
                  <a:pt x="337767" y="1090603"/>
                </a:lnTo>
                <a:lnTo>
                  <a:pt x="381244" y="1107917"/>
                </a:lnTo>
                <a:lnTo>
                  <a:pt x="426376" y="1121678"/>
                </a:lnTo>
                <a:lnTo>
                  <a:pt x="472991" y="1131717"/>
                </a:lnTo>
                <a:lnTo>
                  <a:pt x="520916" y="1137865"/>
                </a:lnTo>
                <a:lnTo>
                  <a:pt x="569975" y="1139951"/>
                </a:lnTo>
                <a:lnTo>
                  <a:pt x="616814" y="1138067"/>
                </a:lnTo>
                <a:lnTo>
                  <a:pt x="662594" y="1132510"/>
                </a:lnTo>
                <a:lnTo>
                  <a:pt x="707168" y="1123425"/>
                </a:lnTo>
                <a:lnTo>
                  <a:pt x="750393" y="1110959"/>
                </a:lnTo>
                <a:lnTo>
                  <a:pt x="792122" y="1095255"/>
                </a:lnTo>
                <a:lnTo>
                  <a:pt x="832212" y="1076460"/>
                </a:lnTo>
                <a:lnTo>
                  <a:pt x="870516" y="1054718"/>
                </a:lnTo>
                <a:lnTo>
                  <a:pt x="906889" y="1030175"/>
                </a:lnTo>
                <a:lnTo>
                  <a:pt x="941187" y="1002975"/>
                </a:lnTo>
                <a:lnTo>
                  <a:pt x="973264" y="973264"/>
                </a:lnTo>
                <a:lnTo>
                  <a:pt x="1002975" y="941187"/>
                </a:lnTo>
                <a:lnTo>
                  <a:pt x="1030175" y="906889"/>
                </a:lnTo>
                <a:lnTo>
                  <a:pt x="1054718" y="870516"/>
                </a:lnTo>
                <a:lnTo>
                  <a:pt x="1076460" y="832212"/>
                </a:lnTo>
                <a:lnTo>
                  <a:pt x="1095255" y="792122"/>
                </a:lnTo>
                <a:lnTo>
                  <a:pt x="1110959" y="750393"/>
                </a:lnTo>
                <a:lnTo>
                  <a:pt x="1123425" y="707168"/>
                </a:lnTo>
                <a:lnTo>
                  <a:pt x="1132510" y="662594"/>
                </a:lnTo>
                <a:lnTo>
                  <a:pt x="1138067" y="616814"/>
                </a:lnTo>
                <a:lnTo>
                  <a:pt x="1139951" y="5699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4" name="object 2724"/>
          <p:cNvSpPr/>
          <p:nvPr/>
        </p:nvSpPr>
        <p:spPr>
          <a:xfrm>
            <a:off x="7319478" y="3949776"/>
            <a:ext cx="1369467" cy="1369467"/>
          </a:xfrm>
          <a:custGeom>
            <a:avLst/>
            <a:gdLst/>
            <a:ahLst/>
            <a:cxnLst/>
            <a:rect l="l" t="t" r="r" b="b"/>
            <a:pathLst>
              <a:path w="1148079" h="1148079">
                <a:moveTo>
                  <a:pt x="1147571" y="573023"/>
                </a:moveTo>
                <a:lnTo>
                  <a:pt x="1144523" y="515111"/>
                </a:lnTo>
                <a:lnTo>
                  <a:pt x="1135379" y="457199"/>
                </a:lnTo>
                <a:lnTo>
                  <a:pt x="1121663" y="402335"/>
                </a:lnTo>
                <a:lnTo>
                  <a:pt x="1091183" y="324611"/>
                </a:lnTo>
                <a:lnTo>
                  <a:pt x="1063751" y="275843"/>
                </a:lnTo>
                <a:lnTo>
                  <a:pt x="1033271" y="230123"/>
                </a:lnTo>
                <a:lnTo>
                  <a:pt x="998219" y="187451"/>
                </a:lnTo>
                <a:lnTo>
                  <a:pt x="960119" y="149351"/>
                </a:lnTo>
                <a:lnTo>
                  <a:pt x="917447" y="114299"/>
                </a:lnTo>
                <a:lnTo>
                  <a:pt x="871727" y="82295"/>
                </a:lnTo>
                <a:lnTo>
                  <a:pt x="821435" y="56387"/>
                </a:lnTo>
                <a:lnTo>
                  <a:pt x="797051" y="44195"/>
                </a:lnTo>
                <a:lnTo>
                  <a:pt x="743711" y="25907"/>
                </a:lnTo>
                <a:lnTo>
                  <a:pt x="688847" y="10667"/>
                </a:lnTo>
                <a:lnTo>
                  <a:pt x="603503" y="0"/>
                </a:lnTo>
                <a:lnTo>
                  <a:pt x="544067" y="0"/>
                </a:lnTo>
                <a:lnTo>
                  <a:pt x="486155" y="6095"/>
                </a:lnTo>
                <a:lnTo>
                  <a:pt x="402335" y="25907"/>
                </a:lnTo>
                <a:lnTo>
                  <a:pt x="350519" y="44195"/>
                </a:lnTo>
                <a:lnTo>
                  <a:pt x="300227" y="68579"/>
                </a:lnTo>
                <a:lnTo>
                  <a:pt x="252983" y="97535"/>
                </a:lnTo>
                <a:lnTo>
                  <a:pt x="208787" y="131063"/>
                </a:lnTo>
                <a:lnTo>
                  <a:pt x="167639" y="167639"/>
                </a:lnTo>
                <a:lnTo>
                  <a:pt x="131063" y="208787"/>
                </a:lnTo>
                <a:lnTo>
                  <a:pt x="112775" y="230123"/>
                </a:lnTo>
                <a:lnTo>
                  <a:pt x="82295" y="275843"/>
                </a:lnTo>
                <a:lnTo>
                  <a:pt x="56387" y="324611"/>
                </a:lnTo>
                <a:lnTo>
                  <a:pt x="33527" y="376427"/>
                </a:lnTo>
                <a:lnTo>
                  <a:pt x="25907" y="402335"/>
                </a:lnTo>
                <a:lnTo>
                  <a:pt x="16763" y="429767"/>
                </a:lnTo>
                <a:lnTo>
                  <a:pt x="10667" y="458723"/>
                </a:lnTo>
                <a:lnTo>
                  <a:pt x="6095" y="486155"/>
                </a:lnTo>
                <a:lnTo>
                  <a:pt x="0" y="544067"/>
                </a:lnTo>
                <a:lnTo>
                  <a:pt x="0" y="603503"/>
                </a:lnTo>
                <a:lnTo>
                  <a:pt x="6095" y="661415"/>
                </a:lnTo>
                <a:lnTo>
                  <a:pt x="7619" y="670559"/>
                </a:lnTo>
                <a:lnTo>
                  <a:pt x="7619" y="544067"/>
                </a:lnTo>
                <a:lnTo>
                  <a:pt x="13715" y="487679"/>
                </a:lnTo>
                <a:lnTo>
                  <a:pt x="33527" y="405383"/>
                </a:lnTo>
                <a:lnTo>
                  <a:pt x="62483" y="327659"/>
                </a:lnTo>
                <a:lnTo>
                  <a:pt x="103631" y="257555"/>
                </a:lnTo>
                <a:lnTo>
                  <a:pt x="137159" y="213359"/>
                </a:lnTo>
                <a:lnTo>
                  <a:pt x="193547" y="153923"/>
                </a:lnTo>
                <a:lnTo>
                  <a:pt x="234695" y="120395"/>
                </a:lnTo>
                <a:lnTo>
                  <a:pt x="303275" y="76199"/>
                </a:lnTo>
                <a:lnTo>
                  <a:pt x="353567" y="51815"/>
                </a:lnTo>
                <a:lnTo>
                  <a:pt x="405383" y="33527"/>
                </a:lnTo>
                <a:lnTo>
                  <a:pt x="460247" y="18287"/>
                </a:lnTo>
                <a:lnTo>
                  <a:pt x="515111" y="10667"/>
                </a:lnTo>
                <a:lnTo>
                  <a:pt x="544067" y="7619"/>
                </a:lnTo>
                <a:lnTo>
                  <a:pt x="601979" y="7619"/>
                </a:lnTo>
                <a:lnTo>
                  <a:pt x="659891" y="13715"/>
                </a:lnTo>
                <a:lnTo>
                  <a:pt x="714755" y="25907"/>
                </a:lnTo>
                <a:lnTo>
                  <a:pt x="794003" y="51815"/>
                </a:lnTo>
                <a:lnTo>
                  <a:pt x="842771" y="76199"/>
                </a:lnTo>
                <a:lnTo>
                  <a:pt x="890015" y="103631"/>
                </a:lnTo>
                <a:lnTo>
                  <a:pt x="934211" y="137159"/>
                </a:lnTo>
                <a:lnTo>
                  <a:pt x="973835" y="173735"/>
                </a:lnTo>
                <a:lnTo>
                  <a:pt x="1010411" y="213359"/>
                </a:lnTo>
                <a:lnTo>
                  <a:pt x="1057655" y="280415"/>
                </a:lnTo>
                <a:lnTo>
                  <a:pt x="1083563" y="327659"/>
                </a:lnTo>
                <a:lnTo>
                  <a:pt x="1114043" y="405383"/>
                </a:lnTo>
                <a:lnTo>
                  <a:pt x="1127759" y="460247"/>
                </a:lnTo>
                <a:lnTo>
                  <a:pt x="1136903" y="516635"/>
                </a:lnTo>
                <a:lnTo>
                  <a:pt x="1139951" y="573023"/>
                </a:lnTo>
                <a:lnTo>
                  <a:pt x="1139951" y="668273"/>
                </a:lnTo>
                <a:lnTo>
                  <a:pt x="1141475" y="661415"/>
                </a:lnTo>
                <a:lnTo>
                  <a:pt x="1144523" y="632459"/>
                </a:lnTo>
                <a:lnTo>
                  <a:pt x="1147571" y="573023"/>
                </a:lnTo>
                <a:close/>
              </a:path>
              <a:path w="1148079" h="1148079">
                <a:moveTo>
                  <a:pt x="1139951" y="668273"/>
                </a:moveTo>
                <a:lnTo>
                  <a:pt x="1139951" y="573023"/>
                </a:lnTo>
                <a:lnTo>
                  <a:pt x="1136903" y="630935"/>
                </a:lnTo>
                <a:lnTo>
                  <a:pt x="1127759" y="687323"/>
                </a:lnTo>
                <a:lnTo>
                  <a:pt x="1114043" y="742187"/>
                </a:lnTo>
                <a:lnTo>
                  <a:pt x="1094231" y="794003"/>
                </a:lnTo>
                <a:lnTo>
                  <a:pt x="1071371" y="842771"/>
                </a:lnTo>
                <a:lnTo>
                  <a:pt x="1027175" y="912875"/>
                </a:lnTo>
                <a:lnTo>
                  <a:pt x="973835" y="973835"/>
                </a:lnTo>
                <a:lnTo>
                  <a:pt x="932687" y="1010411"/>
                </a:lnTo>
                <a:lnTo>
                  <a:pt x="890015" y="1042415"/>
                </a:lnTo>
                <a:lnTo>
                  <a:pt x="842771" y="1071371"/>
                </a:lnTo>
                <a:lnTo>
                  <a:pt x="794003" y="1095755"/>
                </a:lnTo>
                <a:lnTo>
                  <a:pt x="742187" y="1114043"/>
                </a:lnTo>
                <a:lnTo>
                  <a:pt x="659891" y="1133855"/>
                </a:lnTo>
                <a:lnTo>
                  <a:pt x="573023" y="1139951"/>
                </a:lnTo>
                <a:lnTo>
                  <a:pt x="515111" y="1136903"/>
                </a:lnTo>
                <a:lnTo>
                  <a:pt x="487679" y="1132331"/>
                </a:lnTo>
                <a:lnTo>
                  <a:pt x="458723" y="1127759"/>
                </a:lnTo>
                <a:lnTo>
                  <a:pt x="405383" y="1114043"/>
                </a:lnTo>
                <a:lnTo>
                  <a:pt x="353567" y="1095755"/>
                </a:lnTo>
                <a:lnTo>
                  <a:pt x="303275" y="1071371"/>
                </a:lnTo>
                <a:lnTo>
                  <a:pt x="234695" y="1027175"/>
                </a:lnTo>
                <a:lnTo>
                  <a:pt x="173735" y="973835"/>
                </a:lnTo>
                <a:lnTo>
                  <a:pt x="137159" y="934211"/>
                </a:lnTo>
                <a:lnTo>
                  <a:pt x="103631" y="890015"/>
                </a:lnTo>
                <a:lnTo>
                  <a:pt x="62483" y="818387"/>
                </a:lnTo>
                <a:lnTo>
                  <a:pt x="41147" y="768095"/>
                </a:lnTo>
                <a:lnTo>
                  <a:pt x="18287" y="687323"/>
                </a:lnTo>
                <a:lnTo>
                  <a:pt x="7619" y="601979"/>
                </a:lnTo>
                <a:lnTo>
                  <a:pt x="7619" y="670559"/>
                </a:lnTo>
                <a:lnTo>
                  <a:pt x="10667" y="688847"/>
                </a:lnTo>
                <a:lnTo>
                  <a:pt x="16763" y="717803"/>
                </a:lnTo>
                <a:lnTo>
                  <a:pt x="25907" y="743711"/>
                </a:lnTo>
                <a:lnTo>
                  <a:pt x="33527" y="771143"/>
                </a:lnTo>
                <a:lnTo>
                  <a:pt x="56387" y="822959"/>
                </a:lnTo>
                <a:lnTo>
                  <a:pt x="82295" y="871727"/>
                </a:lnTo>
                <a:lnTo>
                  <a:pt x="112775" y="917447"/>
                </a:lnTo>
                <a:lnTo>
                  <a:pt x="149351" y="960119"/>
                </a:lnTo>
                <a:lnTo>
                  <a:pt x="187451" y="998219"/>
                </a:lnTo>
                <a:lnTo>
                  <a:pt x="230123" y="1033271"/>
                </a:lnTo>
                <a:lnTo>
                  <a:pt x="275843" y="1065275"/>
                </a:lnTo>
                <a:lnTo>
                  <a:pt x="324611" y="1091183"/>
                </a:lnTo>
                <a:lnTo>
                  <a:pt x="376427" y="1112519"/>
                </a:lnTo>
                <a:lnTo>
                  <a:pt x="429767" y="1129283"/>
                </a:lnTo>
                <a:lnTo>
                  <a:pt x="486155" y="1141475"/>
                </a:lnTo>
                <a:lnTo>
                  <a:pt x="544067" y="1147571"/>
                </a:lnTo>
                <a:lnTo>
                  <a:pt x="603503" y="1147571"/>
                </a:lnTo>
                <a:lnTo>
                  <a:pt x="661415" y="1141475"/>
                </a:lnTo>
                <a:lnTo>
                  <a:pt x="716279" y="1129283"/>
                </a:lnTo>
                <a:lnTo>
                  <a:pt x="771143" y="1112519"/>
                </a:lnTo>
                <a:lnTo>
                  <a:pt x="822959" y="1091183"/>
                </a:lnTo>
                <a:lnTo>
                  <a:pt x="871727" y="1065275"/>
                </a:lnTo>
                <a:lnTo>
                  <a:pt x="917447" y="1033271"/>
                </a:lnTo>
                <a:lnTo>
                  <a:pt x="960119" y="998219"/>
                </a:lnTo>
                <a:lnTo>
                  <a:pt x="998219" y="960119"/>
                </a:lnTo>
                <a:lnTo>
                  <a:pt x="1033271" y="917447"/>
                </a:lnTo>
                <a:lnTo>
                  <a:pt x="1063751" y="871727"/>
                </a:lnTo>
                <a:lnTo>
                  <a:pt x="1078991" y="847343"/>
                </a:lnTo>
                <a:lnTo>
                  <a:pt x="1112519" y="771143"/>
                </a:lnTo>
                <a:lnTo>
                  <a:pt x="1129283" y="717803"/>
                </a:lnTo>
                <a:lnTo>
                  <a:pt x="1135379" y="688847"/>
                </a:lnTo>
                <a:lnTo>
                  <a:pt x="1139951" y="668273"/>
                </a:lnTo>
                <a:close/>
              </a:path>
            </a:pathLst>
          </a:custGeom>
          <a:solidFill>
            <a:srgbClr val="1F3FE6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5" name="object 2725"/>
          <p:cNvSpPr/>
          <p:nvPr/>
        </p:nvSpPr>
        <p:spPr>
          <a:xfrm>
            <a:off x="7788492" y="4607848"/>
            <a:ext cx="699882" cy="53627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6" name="object 2726"/>
          <p:cNvSpPr/>
          <p:nvPr/>
        </p:nvSpPr>
        <p:spPr>
          <a:xfrm>
            <a:off x="7852118" y="4642388"/>
            <a:ext cx="461740" cy="49446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27" name="object 2727"/>
          <p:cNvSpPr txBox="1"/>
          <p:nvPr/>
        </p:nvSpPr>
        <p:spPr>
          <a:xfrm>
            <a:off x="8142973" y="4481243"/>
            <a:ext cx="128767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86"/>
              </a:lnSpc>
            </a:pPr>
            <a:r>
              <a:rPr sz="995" b="1" spc="9" dirty="0">
                <a:solidFill>
                  <a:schemeClr val="accent4"/>
                </a:solidFill>
                <a:latin typeface="+mn-lt"/>
                <a:cs typeface="Arial"/>
              </a:rPr>
              <a:t>C</a:t>
            </a:r>
            <a:endParaRPr sz="995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728" name="object 2728"/>
          <p:cNvSpPr txBox="1"/>
          <p:nvPr/>
        </p:nvSpPr>
        <p:spPr>
          <a:xfrm>
            <a:off x="8228320" y="4387351"/>
            <a:ext cx="377967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b="1" spc="9" dirty="0">
                <a:solidFill>
                  <a:schemeClr val="accent4"/>
                </a:solidFill>
                <a:latin typeface="+mn-lt"/>
                <a:cs typeface="Arial"/>
              </a:rPr>
              <a:t>C</a:t>
            </a:r>
            <a:r>
              <a:rPr sz="995" b="1" spc="-99" dirty="0">
                <a:solidFill>
                  <a:schemeClr val="accent4"/>
                </a:solidFill>
                <a:latin typeface="+mn-lt"/>
                <a:cs typeface="Arial"/>
              </a:rPr>
              <a:t>A</a:t>
            </a:r>
            <a:r>
              <a:rPr sz="995" b="1" spc="9" dirty="0">
                <a:solidFill>
                  <a:schemeClr val="accent4"/>
                </a:solidFill>
                <a:latin typeface="+mn-lt"/>
                <a:cs typeface="Arial"/>
              </a:rPr>
              <a:t>T</a:t>
            </a:r>
            <a:endParaRPr sz="995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729" name="object 2729"/>
          <p:cNvSpPr/>
          <p:nvPr/>
        </p:nvSpPr>
        <p:spPr>
          <a:xfrm>
            <a:off x="7903019" y="4358799"/>
            <a:ext cx="283587" cy="28358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0" name="object 2730"/>
          <p:cNvSpPr/>
          <p:nvPr/>
        </p:nvSpPr>
        <p:spPr>
          <a:xfrm>
            <a:off x="7944829" y="4398791"/>
            <a:ext cx="149218" cy="151490"/>
          </a:xfrm>
          <a:custGeom>
            <a:avLst/>
            <a:gdLst/>
            <a:ahLst/>
            <a:cxnLst/>
            <a:rect l="l" t="t" r="r" b="b"/>
            <a:pathLst>
              <a:path w="125095" h="127000">
                <a:moveTo>
                  <a:pt x="124967" y="62483"/>
                </a:moveTo>
                <a:lnTo>
                  <a:pt x="120134" y="37933"/>
                </a:lnTo>
                <a:lnTo>
                  <a:pt x="106870" y="18097"/>
                </a:lnTo>
                <a:lnTo>
                  <a:pt x="87034" y="4833"/>
                </a:lnTo>
                <a:lnTo>
                  <a:pt x="62483" y="0"/>
                </a:lnTo>
                <a:lnTo>
                  <a:pt x="37933" y="4833"/>
                </a:lnTo>
                <a:lnTo>
                  <a:pt x="18097" y="18097"/>
                </a:lnTo>
                <a:lnTo>
                  <a:pt x="4833" y="37933"/>
                </a:lnTo>
                <a:lnTo>
                  <a:pt x="0" y="62483"/>
                </a:lnTo>
                <a:lnTo>
                  <a:pt x="4833" y="87272"/>
                </a:lnTo>
                <a:lnTo>
                  <a:pt x="18097" y="107632"/>
                </a:lnTo>
                <a:lnTo>
                  <a:pt x="37933" y="121419"/>
                </a:lnTo>
                <a:lnTo>
                  <a:pt x="62483" y="126491"/>
                </a:lnTo>
                <a:lnTo>
                  <a:pt x="87034" y="121419"/>
                </a:lnTo>
                <a:lnTo>
                  <a:pt x="106870" y="107632"/>
                </a:lnTo>
                <a:lnTo>
                  <a:pt x="120134" y="87272"/>
                </a:lnTo>
                <a:lnTo>
                  <a:pt x="124967" y="62483"/>
                </a:lnTo>
                <a:close/>
              </a:path>
            </a:pathLst>
          </a:custGeom>
          <a:solidFill>
            <a:srgbClr val="36DEE7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1" name="object 2731"/>
          <p:cNvSpPr/>
          <p:nvPr/>
        </p:nvSpPr>
        <p:spPr>
          <a:xfrm>
            <a:off x="7935739" y="4389702"/>
            <a:ext cx="167396" cy="169668"/>
          </a:xfrm>
          <a:custGeom>
            <a:avLst/>
            <a:gdLst/>
            <a:ahLst/>
            <a:cxnLst/>
            <a:rect l="l" t="t" r="r" b="b"/>
            <a:pathLst>
              <a:path w="140334" h="142239">
                <a:moveTo>
                  <a:pt x="4571" y="97535"/>
                </a:moveTo>
                <a:lnTo>
                  <a:pt x="4571" y="44195"/>
                </a:lnTo>
                <a:lnTo>
                  <a:pt x="3047" y="50291"/>
                </a:lnTo>
                <a:lnTo>
                  <a:pt x="0" y="56387"/>
                </a:lnTo>
                <a:lnTo>
                  <a:pt x="0" y="77723"/>
                </a:lnTo>
                <a:lnTo>
                  <a:pt x="3047" y="92963"/>
                </a:lnTo>
                <a:lnTo>
                  <a:pt x="4571" y="97535"/>
                </a:lnTo>
                <a:close/>
              </a:path>
              <a:path w="140334" h="142239">
                <a:moveTo>
                  <a:pt x="19811" y="48767"/>
                </a:moveTo>
                <a:lnTo>
                  <a:pt x="19811" y="21335"/>
                </a:lnTo>
                <a:lnTo>
                  <a:pt x="12191" y="30479"/>
                </a:lnTo>
                <a:lnTo>
                  <a:pt x="10667" y="30479"/>
                </a:lnTo>
                <a:lnTo>
                  <a:pt x="10667" y="32003"/>
                </a:lnTo>
                <a:lnTo>
                  <a:pt x="4571" y="42671"/>
                </a:lnTo>
                <a:lnTo>
                  <a:pt x="4571" y="99059"/>
                </a:lnTo>
                <a:lnTo>
                  <a:pt x="10667" y="109727"/>
                </a:lnTo>
                <a:lnTo>
                  <a:pt x="12191" y="111251"/>
                </a:lnTo>
                <a:lnTo>
                  <a:pt x="15239" y="114909"/>
                </a:lnTo>
                <a:lnTo>
                  <a:pt x="15239" y="64007"/>
                </a:lnTo>
                <a:lnTo>
                  <a:pt x="16763" y="59435"/>
                </a:lnTo>
                <a:lnTo>
                  <a:pt x="18287" y="53339"/>
                </a:lnTo>
                <a:lnTo>
                  <a:pt x="19811" y="48767"/>
                </a:lnTo>
                <a:close/>
              </a:path>
              <a:path w="140334" h="142239">
                <a:moveTo>
                  <a:pt x="19811" y="120395"/>
                </a:moveTo>
                <a:lnTo>
                  <a:pt x="19811" y="92963"/>
                </a:lnTo>
                <a:lnTo>
                  <a:pt x="16763" y="80771"/>
                </a:lnTo>
                <a:lnTo>
                  <a:pt x="15239" y="76199"/>
                </a:lnTo>
                <a:lnTo>
                  <a:pt x="15239" y="114909"/>
                </a:lnTo>
                <a:lnTo>
                  <a:pt x="19811" y="120395"/>
                </a:lnTo>
                <a:close/>
              </a:path>
              <a:path w="140334" h="142239">
                <a:moveTo>
                  <a:pt x="31555" y="31107"/>
                </a:moveTo>
                <a:lnTo>
                  <a:pt x="30479" y="32003"/>
                </a:lnTo>
                <a:lnTo>
                  <a:pt x="30479" y="12191"/>
                </a:lnTo>
                <a:lnTo>
                  <a:pt x="21335" y="19811"/>
                </a:lnTo>
                <a:lnTo>
                  <a:pt x="19811" y="19811"/>
                </a:lnTo>
                <a:lnTo>
                  <a:pt x="19811" y="50291"/>
                </a:lnTo>
                <a:lnTo>
                  <a:pt x="24383" y="42290"/>
                </a:lnTo>
                <a:lnTo>
                  <a:pt x="24383" y="41147"/>
                </a:lnTo>
                <a:lnTo>
                  <a:pt x="31555" y="31107"/>
                </a:lnTo>
                <a:close/>
              </a:path>
              <a:path w="140334" h="142239">
                <a:moveTo>
                  <a:pt x="25907" y="102107"/>
                </a:moveTo>
                <a:lnTo>
                  <a:pt x="19811" y="91439"/>
                </a:lnTo>
                <a:lnTo>
                  <a:pt x="19811" y="121919"/>
                </a:lnTo>
                <a:lnTo>
                  <a:pt x="21335" y="121919"/>
                </a:lnTo>
                <a:lnTo>
                  <a:pt x="24383" y="124459"/>
                </a:lnTo>
                <a:lnTo>
                  <a:pt x="24383" y="100583"/>
                </a:lnTo>
                <a:lnTo>
                  <a:pt x="25907" y="102107"/>
                </a:lnTo>
                <a:close/>
              </a:path>
              <a:path w="140334" h="142239">
                <a:moveTo>
                  <a:pt x="25907" y="39623"/>
                </a:moveTo>
                <a:lnTo>
                  <a:pt x="24383" y="41147"/>
                </a:lnTo>
                <a:lnTo>
                  <a:pt x="24383" y="42290"/>
                </a:lnTo>
                <a:lnTo>
                  <a:pt x="25907" y="39623"/>
                </a:lnTo>
                <a:close/>
              </a:path>
              <a:path w="140334" h="142239">
                <a:moveTo>
                  <a:pt x="32003" y="109727"/>
                </a:moveTo>
                <a:lnTo>
                  <a:pt x="24383" y="100583"/>
                </a:lnTo>
                <a:lnTo>
                  <a:pt x="24383" y="124459"/>
                </a:lnTo>
                <a:lnTo>
                  <a:pt x="30479" y="129539"/>
                </a:lnTo>
                <a:lnTo>
                  <a:pt x="30479" y="109727"/>
                </a:lnTo>
                <a:lnTo>
                  <a:pt x="32003" y="109727"/>
                </a:lnTo>
                <a:close/>
              </a:path>
              <a:path w="140334" h="142239">
                <a:moveTo>
                  <a:pt x="120395" y="50291"/>
                </a:moveTo>
                <a:lnTo>
                  <a:pt x="120395" y="19811"/>
                </a:lnTo>
                <a:lnTo>
                  <a:pt x="118871" y="19811"/>
                </a:lnTo>
                <a:lnTo>
                  <a:pt x="109727" y="12191"/>
                </a:lnTo>
                <a:lnTo>
                  <a:pt x="108203" y="10667"/>
                </a:lnTo>
                <a:lnTo>
                  <a:pt x="97535" y="6095"/>
                </a:lnTo>
                <a:lnTo>
                  <a:pt x="97535" y="4571"/>
                </a:lnTo>
                <a:lnTo>
                  <a:pt x="89915" y="3047"/>
                </a:lnTo>
                <a:lnTo>
                  <a:pt x="83819" y="1523"/>
                </a:lnTo>
                <a:lnTo>
                  <a:pt x="76199" y="0"/>
                </a:lnTo>
                <a:lnTo>
                  <a:pt x="62483" y="0"/>
                </a:lnTo>
                <a:lnTo>
                  <a:pt x="54863" y="1523"/>
                </a:lnTo>
                <a:lnTo>
                  <a:pt x="42671" y="4571"/>
                </a:lnTo>
                <a:lnTo>
                  <a:pt x="41147" y="6095"/>
                </a:lnTo>
                <a:lnTo>
                  <a:pt x="30479" y="10667"/>
                </a:lnTo>
                <a:lnTo>
                  <a:pt x="30479" y="32003"/>
                </a:lnTo>
                <a:lnTo>
                  <a:pt x="32003" y="30479"/>
                </a:lnTo>
                <a:lnTo>
                  <a:pt x="32003" y="30733"/>
                </a:lnTo>
                <a:lnTo>
                  <a:pt x="39623" y="24383"/>
                </a:lnTo>
                <a:lnTo>
                  <a:pt x="39623" y="25907"/>
                </a:lnTo>
                <a:lnTo>
                  <a:pt x="48767" y="20682"/>
                </a:lnTo>
                <a:lnTo>
                  <a:pt x="48767" y="19811"/>
                </a:lnTo>
                <a:lnTo>
                  <a:pt x="54863" y="18287"/>
                </a:lnTo>
                <a:lnTo>
                  <a:pt x="59435" y="16763"/>
                </a:lnTo>
                <a:lnTo>
                  <a:pt x="65531" y="15239"/>
                </a:lnTo>
                <a:lnTo>
                  <a:pt x="76199" y="15239"/>
                </a:lnTo>
                <a:lnTo>
                  <a:pt x="80771" y="16763"/>
                </a:lnTo>
                <a:lnTo>
                  <a:pt x="86867" y="18287"/>
                </a:lnTo>
                <a:lnTo>
                  <a:pt x="91439" y="19811"/>
                </a:lnTo>
                <a:lnTo>
                  <a:pt x="91439" y="20682"/>
                </a:lnTo>
                <a:lnTo>
                  <a:pt x="100583" y="25907"/>
                </a:lnTo>
                <a:lnTo>
                  <a:pt x="100583" y="24383"/>
                </a:lnTo>
                <a:lnTo>
                  <a:pt x="108203" y="30733"/>
                </a:lnTo>
                <a:lnTo>
                  <a:pt x="108203" y="30479"/>
                </a:lnTo>
                <a:lnTo>
                  <a:pt x="109727" y="32003"/>
                </a:lnTo>
                <a:lnTo>
                  <a:pt x="109727" y="32613"/>
                </a:lnTo>
                <a:lnTo>
                  <a:pt x="115823" y="41147"/>
                </a:lnTo>
                <a:lnTo>
                  <a:pt x="115823" y="42290"/>
                </a:lnTo>
                <a:lnTo>
                  <a:pt x="120395" y="50291"/>
                </a:lnTo>
                <a:close/>
              </a:path>
              <a:path w="140334" h="142239">
                <a:moveTo>
                  <a:pt x="32003" y="30479"/>
                </a:moveTo>
                <a:lnTo>
                  <a:pt x="30479" y="32003"/>
                </a:lnTo>
                <a:lnTo>
                  <a:pt x="31555" y="31107"/>
                </a:lnTo>
                <a:lnTo>
                  <a:pt x="32003" y="30479"/>
                </a:lnTo>
                <a:close/>
              </a:path>
              <a:path w="140334" h="142239">
                <a:moveTo>
                  <a:pt x="39623" y="134765"/>
                </a:moveTo>
                <a:lnTo>
                  <a:pt x="39623" y="117347"/>
                </a:lnTo>
                <a:lnTo>
                  <a:pt x="30479" y="109727"/>
                </a:lnTo>
                <a:lnTo>
                  <a:pt x="30479" y="129539"/>
                </a:lnTo>
                <a:lnTo>
                  <a:pt x="39623" y="134765"/>
                </a:lnTo>
                <a:close/>
              </a:path>
              <a:path w="140334" h="142239">
                <a:moveTo>
                  <a:pt x="32003" y="30733"/>
                </a:moveTo>
                <a:lnTo>
                  <a:pt x="32003" y="30479"/>
                </a:lnTo>
                <a:lnTo>
                  <a:pt x="31555" y="31107"/>
                </a:lnTo>
                <a:lnTo>
                  <a:pt x="32003" y="30733"/>
                </a:lnTo>
                <a:close/>
              </a:path>
              <a:path w="140334" h="142239">
                <a:moveTo>
                  <a:pt x="91439" y="138683"/>
                </a:moveTo>
                <a:lnTo>
                  <a:pt x="91439" y="121919"/>
                </a:lnTo>
                <a:lnTo>
                  <a:pt x="85343" y="123443"/>
                </a:lnTo>
                <a:lnTo>
                  <a:pt x="80771" y="124967"/>
                </a:lnTo>
                <a:lnTo>
                  <a:pt x="74675" y="124967"/>
                </a:lnTo>
                <a:lnTo>
                  <a:pt x="70103" y="126491"/>
                </a:lnTo>
                <a:lnTo>
                  <a:pt x="64007" y="124967"/>
                </a:lnTo>
                <a:lnTo>
                  <a:pt x="57911" y="124967"/>
                </a:lnTo>
                <a:lnTo>
                  <a:pt x="48767" y="121919"/>
                </a:lnTo>
                <a:lnTo>
                  <a:pt x="38099" y="115823"/>
                </a:lnTo>
                <a:lnTo>
                  <a:pt x="39623" y="117347"/>
                </a:lnTo>
                <a:lnTo>
                  <a:pt x="39623" y="134765"/>
                </a:lnTo>
                <a:lnTo>
                  <a:pt x="41147" y="135635"/>
                </a:lnTo>
                <a:lnTo>
                  <a:pt x="42671" y="135635"/>
                </a:lnTo>
                <a:lnTo>
                  <a:pt x="42671" y="137159"/>
                </a:lnTo>
                <a:lnTo>
                  <a:pt x="48767" y="138683"/>
                </a:lnTo>
                <a:lnTo>
                  <a:pt x="56387" y="140207"/>
                </a:lnTo>
                <a:lnTo>
                  <a:pt x="62483" y="141731"/>
                </a:lnTo>
                <a:lnTo>
                  <a:pt x="77723" y="141731"/>
                </a:lnTo>
                <a:lnTo>
                  <a:pt x="85343" y="140207"/>
                </a:lnTo>
                <a:lnTo>
                  <a:pt x="91439" y="138683"/>
                </a:lnTo>
                <a:close/>
              </a:path>
              <a:path w="140334" h="142239">
                <a:moveTo>
                  <a:pt x="50291" y="19811"/>
                </a:moveTo>
                <a:lnTo>
                  <a:pt x="48767" y="19811"/>
                </a:lnTo>
                <a:lnTo>
                  <a:pt x="48767" y="20682"/>
                </a:lnTo>
                <a:lnTo>
                  <a:pt x="50291" y="19811"/>
                </a:lnTo>
                <a:close/>
              </a:path>
              <a:path w="140334" h="142239">
                <a:moveTo>
                  <a:pt x="91439" y="20682"/>
                </a:moveTo>
                <a:lnTo>
                  <a:pt x="91439" y="19811"/>
                </a:lnTo>
                <a:lnTo>
                  <a:pt x="89915" y="19811"/>
                </a:lnTo>
                <a:lnTo>
                  <a:pt x="91439" y="20682"/>
                </a:lnTo>
                <a:close/>
              </a:path>
              <a:path w="140334" h="142239">
                <a:moveTo>
                  <a:pt x="109727" y="129539"/>
                </a:moveTo>
                <a:lnTo>
                  <a:pt x="109727" y="109727"/>
                </a:lnTo>
                <a:lnTo>
                  <a:pt x="100583" y="117347"/>
                </a:lnTo>
                <a:lnTo>
                  <a:pt x="100583" y="115823"/>
                </a:lnTo>
                <a:lnTo>
                  <a:pt x="89915" y="121919"/>
                </a:lnTo>
                <a:lnTo>
                  <a:pt x="91439" y="121919"/>
                </a:lnTo>
                <a:lnTo>
                  <a:pt x="91439" y="138683"/>
                </a:lnTo>
                <a:lnTo>
                  <a:pt x="97535" y="137159"/>
                </a:lnTo>
                <a:lnTo>
                  <a:pt x="97535" y="135635"/>
                </a:lnTo>
                <a:lnTo>
                  <a:pt x="108203" y="129539"/>
                </a:lnTo>
                <a:lnTo>
                  <a:pt x="109727" y="129539"/>
                </a:lnTo>
                <a:close/>
              </a:path>
              <a:path w="140334" h="142239">
                <a:moveTo>
                  <a:pt x="109727" y="32003"/>
                </a:moveTo>
                <a:lnTo>
                  <a:pt x="108203" y="30479"/>
                </a:lnTo>
                <a:lnTo>
                  <a:pt x="108652" y="31107"/>
                </a:lnTo>
                <a:lnTo>
                  <a:pt x="109727" y="32003"/>
                </a:lnTo>
                <a:close/>
              </a:path>
              <a:path w="140334" h="142239">
                <a:moveTo>
                  <a:pt x="108652" y="31107"/>
                </a:moveTo>
                <a:lnTo>
                  <a:pt x="108203" y="30479"/>
                </a:lnTo>
                <a:lnTo>
                  <a:pt x="108203" y="30733"/>
                </a:lnTo>
                <a:lnTo>
                  <a:pt x="108652" y="31107"/>
                </a:lnTo>
                <a:close/>
              </a:path>
              <a:path w="140334" h="142239">
                <a:moveTo>
                  <a:pt x="115823" y="124459"/>
                </a:moveTo>
                <a:lnTo>
                  <a:pt x="115823" y="100583"/>
                </a:lnTo>
                <a:lnTo>
                  <a:pt x="108203" y="109727"/>
                </a:lnTo>
                <a:lnTo>
                  <a:pt x="109727" y="109727"/>
                </a:lnTo>
                <a:lnTo>
                  <a:pt x="109727" y="129539"/>
                </a:lnTo>
                <a:lnTo>
                  <a:pt x="115823" y="124459"/>
                </a:lnTo>
                <a:close/>
              </a:path>
              <a:path w="140334" h="142239">
                <a:moveTo>
                  <a:pt x="109727" y="32613"/>
                </a:moveTo>
                <a:lnTo>
                  <a:pt x="109727" y="32003"/>
                </a:lnTo>
                <a:lnTo>
                  <a:pt x="108652" y="31107"/>
                </a:lnTo>
                <a:lnTo>
                  <a:pt x="109727" y="32613"/>
                </a:lnTo>
                <a:close/>
              </a:path>
              <a:path w="140334" h="142239">
                <a:moveTo>
                  <a:pt x="115823" y="42290"/>
                </a:moveTo>
                <a:lnTo>
                  <a:pt x="115823" y="41147"/>
                </a:lnTo>
                <a:lnTo>
                  <a:pt x="114299" y="39623"/>
                </a:lnTo>
                <a:lnTo>
                  <a:pt x="115823" y="42290"/>
                </a:lnTo>
                <a:close/>
              </a:path>
              <a:path w="140334" h="142239">
                <a:moveTo>
                  <a:pt x="120395" y="121919"/>
                </a:moveTo>
                <a:lnTo>
                  <a:pt x="120395" y="91439"/>
                </a:lnTo>
                <a:lnTo>
                  <a:pt x="114299" y="102107"/>
                </a:lnTo>
                <a:lnTo>
                  <a:pt x="115823" y="100583"/>
                </a:lnTo>
                <a:lnTo>
                  <a:pt x="115823" y="124459"/>
                </a:lnTo>
                <a:lnTo>
                  <a:pt x="118871" y="121919"/>
                </a:lnTo>
                <a:lnTo>
                  <a:pt x="120395" y="121919"/>
                </a:lnTo>
                <a:close/>
              </a:path>
              <a:path w="140334" h="142239">
                <a:moveTo>
                  <a:pt x="135635" y="99059"/>
                </a:moveTo>
                <a:lnTo>
                  <a:pt x="135635" y="42671"/>
                </a:lnTo>
                <a:lnTo>
                  <a:pt x="134111" y="42671"/>
                </a:lnTo>
                <a:lnTo>
                  <a:pt x="129539" y="32003"/>
                </a:lnTo>
                <a:lnTo>
                  <a:pt x="128015" y="30479"/>
                </a:lnTo>
                <a:lnTo>
                  <a:pt x="120395" y="21335"/>
                </a:lnTo>
                <a:lnTo>
                  <a:pt x="120395" y="48767"/>
                </a:lnTo>
                <a:lnTo>
                  <a:pt x="121919" y="54863"/>
                </a:lnTo>
                <a:lnTo>
                  <a:pt x="123443" y="59435"/>
                </a:lnTo>
                <a:lnTo>
                  <a:pt x="124967" y="65531"/>
                </a:lnTo>
                <a:lnTo>
                  <a:pt x="124967" y="114909"/>
                </a:lnTo>
                <a:lnTo>
                  <a:pt x="128015" y="111251"/>
                </a:lnTo>
                <a:lnTo>
                  <a:pt x="128015" y="109727"/>
                </a:lnTo>
                <a:lnTo>
                  <a:pt x="129539" y="109727"/>
                </a:lnTo>
                <a:lnTo>
                  <a:pt x="134111" y="99059"/>
                </a:lnTo>
                <a:lnTo>
                  <a:pt x="135635" y="99059"/>
                </a:lnTo>
                <a:close/>
              </a:path>
              <a:path w="140334" h="142239">
                <a:moveTo>
                  <a:pt x="124967" y="114909"/>
                </a:moveTo>
                <a:lnTo>
                  <a:pt x="124967" y="76199"/>
                </a:lnTo>
                <a:lnTo>
                  <a:pt x="123443" y="82295"/>
                </a:lnTo>
                <a:lnTo>
                  <a:pt x="121919" y="86867"/>
                </a:lnTo>
                <a:lnTo>
                  <a:pt x="120395" y="92963"/>
                </a:lnTo>
                <a:lnTo>
                  <a:pt x="120395" y="120395"/>
                </a:lnTo>
                <a:lnTo>
                  <a:pt x="124967" y="114909"/>
                </a:lnTo>
                <a:close/>
              </a:path>
              <a:path w="140334" h="142239">
                <a:moveTo>
                  <a:pt x="140207" y="77723"/>
                </a:moveTo>
                <a:lnTo>
                  <a:pt x="140207" y="62483"/>
                </a:lnTo>
                <a:lnTo>
                  <a:pt x="138683" y="56387"/>
                </a:lnTo>
                <a:lnTo>
                  <a:pt x="137159" y="48767"/>
                </a:lnTo>
                <a:lnTo>
                  <a:pt x="135635" y="44195"/>
                </a:lnTo>
                <a:lnTo>
                  <a:pt x="135635" y="97535"/>
                </a:lnTo>
                <a:lnTo>
                  <a:pt x="138683" y="85343"/>
                </a:lnTo>
                <a:lnTo>
                  <a:pt x="140207" y="7772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2" name="object 2732"/>
          <p:cNvSpPr/>
          <p:nvPr/>
        </p:nvSpPr>
        <p:spPr>
          <a:xfrm>
            <a:off x="7999364" y="4444239"/>
            <a:ext cx="36358" cy="67412"/>
          </a:xfrm>
          <a:custGeom>
            <a:avLst/>
            <a:gdLst/>
            <a:ahLst/>
            <a:cxnLst/>
            <a:rect l="l" t="t" r="r" b="b"/>
            <a:pathLst>
              <a:path w="30479" h="56514">
                <a:moveTo>
                  <a:pt x="28955" y="19811"/>
                </a:moveTo>
                <a:lnTo>
                  <a:pt x="28955" y="12191"/>
                </a:lnTo>
                <a:lnTo>
                  <a:pt x="24383" y="7619"/>
                </a:lnTo>
                <a:lnTo>
                  <a:pt x="16763" y="7619"/>
                </a:lnTo>
                <a:lnTo>
                  <a:pt x="16763" y="0"/>
                </a:lnTo>
                <a:lnTo>
                  <a:pt x="12191" y="0"/>
                </a:lnTo>
                <a:lnTo>
                  <a:pt x="12191" y="7619"/>
                </a:lnTo>
                <a:lnTo>
                  <a:pt x="4571" y="7619"/>
                </a:lnTo>
                <a:lnTo>
                  <a:pt x="0" y="12191"/>
                </a:lnTo>
                <a:lnTo>
                  <a:pt x="0" y="25907"/>
                </a:lnTo>
                <a:lnTo>
                  <a:pt x="6095" y="27127"/>
                </a:lnTo>
                <a:lnTo>
                  <a:pt x="6095" y="13715"/>
                </a:lnTo>
                <a:lnTo>
                  <a:pt x="9143" y="12191"/>
                </a:lnTo>
                <a:lnTo>
                  <a:pt x="19811" y="12191"/>
                </a:lnTo>
                <a:lnTo>
                  <a:pt x="22859" y="13715"/>
                </a:lnTo>
                <a:lnTo>
                  <a:pt x="22859" y="19811"/>
                </a:lnTo>
                <a:lnTo>
                  <a:pt x="24383" y="21335"/>
                </a:lnTo>
                <a:lnTo>
                  <a:pt x="27431" y="21335"/>
                </a:lnTo>
                <a:lnTo>
                  <a:pt x="28955" y="19811"/>
                </a:lnTo>
                <a:close/>
              </a:path>
              <a:path w="30479" h="56514">
                <a:moveTo>
                  <a:pt x="24383" y="47243"/>
                </a:moveTo>
                <a:lnTo>
                  <a:pt x="24383" y="41147"/>
                </a:lnTo>
                <a:lnTo>
                  <a:pt x="19811" y="42671"/>
                </a:lnTo>
                <a:lnTo>
                  <a:pt x="9143" y="42671"/>
                </a:lnTo>
                <a:lnTo>
                  <a:pt x="4571" y="41147"/>
                </a:lnTo>
                <a:lnTo>
                  <a:pt x="4571" y="33527"/>
                </a:lnTo>
                <a:lnTo>
                  <a:pt x="0" y="33527"/>
                </a:lnTo>
                <a:lnTo>
                  <a:pt x="0" y="42671"/>
                </a:lnTo>
                <a:lnTo>
                  <a:pt x="4571" y="47243"/>
                </a:lnTo>
                <a:lnTo>
                  <a:pt x="12191" y="48767"/>
                </a:lnTo>
                <a:lnTo>
                  <a:pt x="12191" y="56387"/>
                </a:lnTo>
                <a:lnTo>
                  <a:pt x="15239" y="56387"/>
                </a:lnTo>
                <a:lnTo>
                  <a:pt x="16763" y="54863"/>
                </a:lnTo>
                <a:lnTo>
                  <a:pt x="16763" y="48767"/>
                </a:lnTo>
                <a:lnTo>
                  <a:pt x="24383" y="47243"/>
                </a:lnTo>
                <a:close/>
              </a:path>
              <a:path w="30479" h="56514">
                <a:moveTo>
                  <a:pt x="30479" y="42671"/>
                </a:moveTo>
                <a:lnTo>
                  <a:pt x="30479" y="27431"/>
                </a:lnTo>
                <a:lnTo>
                  <a:pt x="21335" y="25907"/>
                </a:lnTo>
                <a:lnTo>
                  <a:pt x="15239" y="24383"/>
                </a:lnTo>
                <a:lnTo>
                  <a:pt x="9143" y="21335"/>
                </a:lnTo>
                <a:lnTo>
                  <a:pt x="6095" y="21335"/>
                </a:lnTo>
                <a:lnTo>
                  <a:pt x="6095" y="27127"/>
                </a:lnTo>
                <a:lnTo>
                  <a:pt x="7619" y="27431"/>
                </a:lnTo>
                <a:lnTo>
                  <a:pt x="13715" y="28955"/>
                </a:lnTo>
                <a:lnTo>
                  <a:pt x="21335" y="30479"/>
                </a:lnTo>
                <a:lnTo>
                  <a:pt x="24383" y="32003"/>
                </a:lnTo>
                <a:lnTo>
                  <a:pt x="24383" y="47243"/>
                </a:lnTo>
                <a:lnTo>
                  <a:pt x="30479" y="426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3" name="object 2733"/>
          <p:cNvSpPr/>
          <p:nvPr/>
        </p:nvSpPr>
        <p:spPr>
          <a:xfrm>
            <a:off x="7473780" y="4224275"/>
            <a:ext cx="604444" cy="456741"/>
          </a:xfrm>
          <a:custGeom>
            <a:avLst/>
            <a:gdLst/>
            <a:ahLst/>
            <a:cxnLst/>
            <a:rect l="l" t="t" r="r" b="b"/>
            <a:pathLst>
              <a:path w="506729" h="382904">
                <a:moveTo>
                  <a:pt x="506150" y="128015"/>
                </a:moveTo>
                <a:lnTo>
                  <a:pt x="486338" y="131063"/>
                </a:lnTo>
                <a:lnTo>
                  <a:pt x="465478" y="94797"/>
                </a:lnTo>
                <a:lnTo>
                  <a:pt x="439475" y="68389"/>
                </a:lnTo>
                <a:lnTo>
                  <a:pt x="385754" y="32003"/>
                </a:lnTo>
                <a:lnTo>
                  <a:pt x="314697" y="9143"/>
                </a:lnTo>
                <a:lnTo>
                  <a:pt x="242498" y="0"/>
                </a:lnTo>
                <a:lnTo>
                  <a:pt x="219614" y="1809"/>
                </a:lnTo>
                <a:lnTo>
                  <a:pt x="173275" y="11144"/>
                </a:lnTo>
                <a:lnTo>
                  <a:pt x="88756" y="46497"/>
                </a:lnTo>
                <a:lnTo>
                  <a:pt x="45866" y="81207"/>
                </a:lnTo>
                <a:lnTo>
                  <a:pt x="18412" y="120582"/>
                </a:lnTo>
                <a:lnTo>
                  <a:pt x="3941" y="161264"/>
                </a:lnTo>
                <a:lnTo>
                  <a:pt x="0" y="199892"/>
                </a:lnTo>
                <a:lnTo>
                  <a:pt x="4136" y="233109"/>
                </a:lnTo>
                <a:lnTo>
                  <a:pt x="13898" y="257555"/>
                </a:lnTo>
                <a:lnTo>
                  <a:pt x="46043" y="304489"/>
                </a:lnTo>
                <a:lnTo>
                  <a:pt x="59237" y="315232"/>
                </a:lnTo>
                <a:lnTo>
                  <a:pt x="59237" y="201977"/>
                </a:lnTo>
                <a:lnTo>
                  <a:pt x="62285" y="164972"/>
                </a:lnTo>
                <a:lnTo>
                  <a:pt x="90098" y="115823"/>
                </a:lnTo>
                <a:lnTo>
                  <a:pt x="125832" y="88355"/>
                </a:lnTo>
                <a:lnTo>
                  <a:pt x="172247" y="69811"/>
                </a:lnTo>
                <a:lnTo>
                  <a:pt x="223198" y="59972"/>
                </a:lnTo>
                <a:lnTo>
                  <a:pt x="272539" y="58619"/>
                </a:lnTo>
                <a:lnTo>
                  <a:pt x="314126" y="65531"/>
                </a:lnTo>
                <a:lnTo>
                  <a:pt x="353654" y="77652"/>
                </a:lnTo>
                <a:lnTo>
                  <a:pt x="385754" y="96202"/>
                </a:lnTo>
                <a:lnTo>
                  <a:pt x="410995" y="118467"/>
                </a:lnTo>
                <a:lnTo>
                  <a:pt x="429950" y="141731"/>
                </a:lnTo>
                <a:lnTo>
                  <a:pt x="429950" y="155186"/>
                </a:lnTo>
                <a:lnTo>
                  <a:pt x="465002" y="172211"/>
                </a:lnTo>
                <a:lnTo>
                  <a:pt x="506150" y="128015"/>
                </a:lnTo>
                <a:close/>
              </a:path>
              <a:path w="506729" h="382904">
                <a:moveTo>
                  <a:pt x="411662" y="195071"/>
                </a:moveTo>
                <a:lnTo>
                  <a:pt x="394898" y="146303"/>
                </a:lnTo>
                <a:lnTo>
                  <a:pt x="391850" y="160019"/>
                </a:lnTo>
                <a:lnTo>
                  <a:pt x="322127" y="141922"/>
                </a:lnTo>
                <a:lnTo>
                  <a:pt x="261548" y="140969"/>
                </a:lnTo>
                <a:lnTo>
                  <a:pt x="216971" y="148018"/>
                </a:lnTo>
                <a:lnTo>
                  <a:pt x="160059" y="169044"/>
                </a:lnTo>
                <a:lnTo>
                  <a:pt x="127436" y="190309"/>
                </a:lnTo>
                <a:lnTo>
                  <a:pt x="97099" y="215860"/>
                </a:lnTo>
                <a:lnTo>
                  <a:pt x="68762" y="243839"/>
                </a:lnTo>
                <a:lnTo>
                  <a:pt x="59237" y="201977"/>
                </a:lnTo>
                <a:lnTo>
                  <a:pt x="59237" y="315232"/>
                </a:lnTo>
                <a:lnTo>
                  <a:pt x="87671" y="338384"/>
                </a:lnTo>
                <a:lnTo>
                  <a:pt x="96194" y="342553"/>
                </a:lnTo>
                <a:lnTo>
                  <a:pt x="96194" y="288035"/>
                </a:lnTo>
                <a:lnTo>
                  <a:pt x="113267" y="261627"/>
                </a:lnTo>
                <a:lnTo>
                  <a:pt x="142485" y="235648"/>
                </a:lnTo>
                <a:lnTo>
                  <a:pt x="174846" y="214526"/>
                </a:lnTo>
                <a:lnTo>
                  <a:pt x="249713" y="190023"/>
                </a:lnTo>
                <a:lnTo>
                  <a:pt x="293361" y="185927"/>
                </a:lnTo>
                <a:lnTo>
                  <a:pt x="334438" y="189833"/>
                </a:lnTo>
                <a:lnTo>
                  <a:pt x="375086" y="201167"/>
                </a:lnTo>
                <a:lnTo>
                  <a:pt x="375086" y="210206"/>
                </a:lnTo>
                <a:lnTo>
                  <a:pt x="411662" y="195071"/>
                </a:lnTo>
                <a:close/>
              </a:path>
              <a:path w="506729" h="382904">
                <a:moveTo>
                  <a:pt x="477194" y="271271"/>
                </a:moveTo>
                <a:lnTo>
                  <a:pt x="471098" y="274319"/>
                </a:lnTo>
                <a:lnTo>
                  <a:pt x="465002" y="275843"/>
                </a:lnTo>
                <a:lnTo>
                  <a:pt x="457382" y="275843"/>
                </a:lnTo>
                <a:lnTo>
                  <a:pt x="446237" y="274748"/>
                </a:lnTo>
                <a:lnTo>
                  <a:pt x="435665" y="271652"/>
                </a:lnTo>
                <a:lnTo>
                  <a:pt x="425663" y="266842"/>
                </a:lnTo>
                <a:lnTo>
                  <a:pt x="416234" y="260603"/>
                </a:lnTo>
                <a:lnTo>
                  <a:pt x="377681" y="293346"/>
                </a:lnTo>
                <a:lnTo>
                  <a:pt x="336414" y="312229"/>
                </a:lnTo>
                <a:lnTo>
                  <a:pt x="301148" y="321683"/>
                </a:lnTo>
                <a:lnTo>
                  <a:pt x="280598" y="326135"/>
                </a:lnTo>
                <a:lnTo>
                  <a:pt x="219852" y="326183"/>
                </a:lnTo>
                <a:lnTo>
                  <a:pt x="162678" y="313943"/>
                </a:lnTo>
                <a:lnTo>
                  <a:pt x="118363" y="298275"/>
                </a:lnTo>
                <a:lnTo>
                  <a:pt x="96194" y="288035"/>
                </a:lnTo>
                <a:lnTo>
                  <a:pt x="96194" y="342553"/>
                </a:lnTo>
                <a:lnTo>
                  <a:pt x="134294" y="361187"/>
                </a:lnTo>
                <a:lnTo>
                  <a:pt x="181425" y="374847"/>
                </a:lnTo>
                <a:lnTo>
                  <a:pt x="224577" y="381310"/>
                </a:lnTo>
                <a:lnTo>
                  <a:pt x="259262" y="382523"/>
                </a:lnTo>
                <a:lnTo>
                  <a:pt x="327135" y="374172"/>
                </a:lnTo>
                <a:lnTo>
                  <a:pt x="381621" y="355213"/>
                </a:lnTo>
                <a:lnTo>
                  <a:pt x="423963" y="329305"/>
                </a:lnTo>
                <a:lnTo>
                  <a:pt x="455407" y="300106"/>
                </a:lnTo>
                <a:lnTo>
                  <a:pt x="477194" y="271271"/>
                </a:lnTo>
                <a:close/>
              </a:path>
              <a:path w="506729" h="382904">
                <a:moveTo>
                  <a:pt x="375086" y="210206"/>
                </a:moveTo>
                <a:lnTo>
                  <a:pt x="375086" y="201167"/>
                </a:lnTo>
                <a:lnTo>
                  <a:pt x="367466" y="213359"/>
                </a:lnTo>
                <a:lnTo>
                  <a:pt x="375086" y="210206"/>
                </a:lnTo>
                <a:close/>
              </a:path>
              <a:path w="506729" h="382904">
                <a:moveTo>
                  <a:pt x="429950" y="155186"/>
                </a:moveTo>
                <a:lnTo>
                  <a:pt x="429950" y="141731"/>
                </a:lnTo>
                <a:lnTo>
                  <a:pt x="411662" y="146303"/>
                </a:lnTo>
                <a:lnTo>
                  <a:pt x="429950" y="155186"/>
                </a:lnTo>
                <a:close/>
              </a:path>
            </a:pathLst>
          </a:custGeom>
          <a:solidFill>
            <a:srgbClr val="A2A2A2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4" name="object 2734"/>
          <p:cNvSpPr/>
          <p:nvPr/>
        </p:nvSpPr>
        <p:spPr>
          <a:xfrm>
            <a:off x="7648515" y="4140654"/>
            <a:ext cx="290861" cy="287223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5" name="object 2735"/>
          <p:cNvSpPr/>
          <p:nvPr/>
        </p:nvSpPr>
        <p:spPr>
          <a:xfrm>
            <a:off x="7692143" y="4184281"/>
            <a:ext cx="153004" cy="151490"/>
          </a:xfrm>
          <a:custGeom>
            <a:avLst/>
            <a:gdLst/>
            <a:ahLst/>
            <a:cxnLst/>
            <a:rect l="l" t="t" r="r" b="b"/>
            <a:pathLst>
              <a:path w="128270" h="127000">
                <a:moveTo>
                  <a:pt x="128015" y="62483"/>
                </a:moveTo>
                <a:lnTo>
                  <a:pt x="122943" y="37933"/>
                </a:lnTo>
                <a:lnTo>
                  <a:pt x="109156" y="18097"/>
                </a:lnTo>
                <a:lnTo>
                  <a:pt x="88796" y="4833"/>
                </a:lnTo>
                <a:lnTo>
                  <a:pt x="64007" y="0"/>
                </a:lnTo>
                <a:lnTo>
                  <a:pt x="39219" y="4833"/>
                </a:lnTo>
                <a:lnTo>
                  <a:pt x="18859" y="18097"/>
                </a:lnTo>
                <a:lnTo>
                  <a:pt x="5072" y="37933"/>
                </a:lnTo>
                <a:lnTo>
                  <a:pt x="0" y="62483"/>
                </a:lnTo>
                <a:lnTo>
                  <a:pt x="5072" y="87272"/>
                </a:lnTo>
                <a:lnTo>
                  <a:pt x="18859" y="107632"/>
                </a:lnTo>
                <a:lnTo>
                  <a:pt x="39219" y="121419"/>
                </a:lnTo>
                <a:lnTo>
                  <a:pt x="64007" y="126491"/>
                </a:lnTo>
                <a:lnTo>
                  <a:pt x="88796" y="121419"/>
                </a:lnTo>
                <a:lnTo>
                  <a:pt x="109156" y="107632"/>
                </a:lnTo>
                <a:lnTo>
                  <a:pt x="122943" y="87272"/>
                </a:lnTo>
                <a:lnTo>
                  <a:pt x="128015" y="62483"/>
                </a:lnTo>
                <a:close/>
              </a:path>
            </a:pathLst>
          </a:custGeom>
          <a:solidFill>
            <a:srgbClr val="00ACE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6" name="object 2736"/>
          <p:cNvSpPr/>
          <p:nvPr/>
        </p:nvSpPr>
        <p:spPr>
          <a:xfrm>
            <a:off x="7681237" y="4173373"/>
            <a:ext cx="174970" cy="171184"/>
          </a:xfrm>
          <a:custGeom>
            <a:avLst/>
            <a:gdLst/>
            <a:ahLst/>
            <a:cxnLst/>
            <a:rect l="l" t="t" r="r" b="b"/>
            <a:pathLst>
              <a:path w="146684" h="143510">
                <a:moveTo>
                  <a:pt x="114299" y="33527"/>
                </a:moveTo>
                <a:lnTo>
                  <a:pt x="114299" y="12191"/>
                </a:lnTo>
                <a:lnTo>
                  <a:pt x="112775" y="12191"/>
                </a:lnTo>
                <a:lnTo>
                  <a:pt x="102107" y="6095"/>
                </a:lnTo>
                <a:lnTo>
                  <a:pt x="100583" y="6095"/>
                </a:lnTo>
                <a:lnTo>
                  <a:pt x="94487" y="3047"/>
                </a:lnTo>
                <a:lnTo>
                  <a:pt x="86867" y="1523"/>
                </a:lnTo>
                <a:lnTo>
                  <a:pt x="80771" y="1523"/>
                </a:lnTo>
                <a:lnTo>
                  <a:pt x="73151" y="0"/>
                </a:lnTo>
                <a:lnTo>
                  <a:pt x="65531" y="1523"/>
                </a:lnTo>
                <a:lnTo>
                  <a:pt x="57911" y="1523"/>
                </a:lnTo>
                <a:lnTo>
                  <a:pt x="51815" y="4571"/>
                </a:lnTo>
                <a:lnTo>
                  <a:pt x="45719" y="6095"/>
                </a:lnTo>
                <a:lnTo>
                  <a:pt x="44195" y="6095"/>
                </a:lnTo>
                <a:lnTo>
                  <a:pt x="33527" y="12191"/>
                </a:lnTo>
                <a:lnTo>
                  <a:pt x="32003" y="13715"/>
                </a:lnTo>
                <a:lnTo>
                  <a:pt x="22859" y="21335"/>
                </a:lnTo>
                <a:lnTo>
                  <a:pt x="21335" y="21335"/>
                </a:lnTo>
                <a:lnTo>
                  <a:pt x="13715" y="32003"/>
                </a:lnTo>
                <a:lnTo>
                  <a:pt x="12191" y="32003"/>
                </a:lnTo>
                <a:lnTo>
                  <a:pt x="6095" y="44195"/>
                </a:lnTo>
                <a:lnTo>
                  <a:pt x="4571" y="51815"/>
                </a:lnTo>
                <a:lnTo>
                  <a:pt x="1523" y="57911"/>
                </a:lnTo>
                <a:lnTo>
                  <a:pt x="1523" y="65531"/>
                </a:lnTo>
                <a:lnTo>
                  <a:pt x="0" y="73151"/>
                </a:lnTo>
                <a:lnTo>
                  <a:pt x="1523" y="79247"/>
                </a:lnTo>
                <a:lnTo>
                  <a:pt x="3047" y="86867"/>
                </a:lnTo>
                <a:lnTo>
                  <a:pt x="6095" y="99059"/>
                </a:lnTo>
                <a:lnTo>
                  <a:pt x="6095" y="100583"/>
                </a:lnTo>
                <a:lnTo>
                  <a:pt x="12191" y="111251"/>
                </a:lnTo>
                <a:lnTo>
                  <a:pt x="13715" y="111251"/>
                </a:lnTo>
                <a:lnTo>
                  <a:pt x="13715" y="112775"/>
                </a:lnTo>
                <a:lnTo>
                  <a:pt x="16763" y="116433"/>
                </a:lnTo>
                <a:lnTo>
                  <a:pt x="16763" y="65531"/>
                </a:lnTo>
                <a:lnTo>
                  <a:pt x="18287" y="60959"/>
                </a:lnTo>
                <a:lnTo>
                  <a:pt x="19811" y="54863"/>
                </a:lnTo>
                <a:lnTo>
                  <a:pt x="21335" y="50291"/>
                </a:lnTo>
                <a:lnTo>
                  <a:pt x="21335" y="51815"/>
                </a:lnTo>
                <a:lnTo>
                  <a:pt x="25907" y="43814"/>
                </a:lnTo>
                <a:lnTo>
                  <a:pt x="25907" y="41147"/>
                </a:lnTo>
                <a:lnTo>
                  <a:pt x="32003" y="33832"/>
                </a:lnTo>
                <a:lnTo>
                  <a:pt x="32003" y="33527"/>
                </a:lnTo>
                <a:lnTo>
                  <a:pt x="33527" y="32003"/>
                </a:lnTo>
                <a:lnTo>
                  <a:pt x="33527" y="32439"/>
                </a:lnTo>
                <a:lnTo>
                  <a:pt x="41147" y="26996"/>
                </a:lnTo>
                <a:lnTo>
                  <a:pt x="41147" y="25907"/>
                </a:lnTo>
                <a:lnTo>
                  <a:pt x="50291" y="21989"/>
                </a:lnTo>
                <a:lnTo>
                  <a:pt x="50291" y="21335"/>
                </a:lnTo>
                <a:lnTo>
                  <a:pt x="68579" y="16763"/>
                </a:lnTo>
                <a:lnTo>
                  <a:pt x="79247" y="16763"/>
                </a:lnTo>
                <a:lnTo>
                  <a:pt x="85343" y="18287"/>
                </a:lnTo>
                <a:lnTo>
                  <a:pt x="89915" y="19811"/>
                </a:lnTo>
                <a:lnTo>
                  <a:pt x="96011" y="21335"/>
                </a:lnTo>
                <a:lnTo>
                  <a:pt x="96011" y="21989"/>
                </a:lnTo>
                <a:lnTo>
                  <a:pt x="105155" y="25907"/>
                </a:lnTo>
                <a:lnTo>
                  <a:pt x="105155" y="26996"/>
                </a:lnTo>
                <a:lnTo>
                  <a:pt x="112775" y="32439"/>
                </a:lnTo>
                <a:lnTo>
                  <a:pt x="112775" y="32003"/>
                </a:lnTo>
                <a:lnTo>
                  <a:pt x="114299" y="33527"/>
                </a:lnTo>
                <a:close/>
              </a:path>
              <a:path w="146684" h="143510">
                <a:moveTo>
                  <a:pt x="27431" y="103631"/>
                </a:moveTo>
                <a:lnTo>
                  <a:pt x="21335" y="92963"/>
                </a:lnTo>
                <a:lnTo>
                  <a:pt x="21335" y="94487"/>
                </a:lnTo>
                <a:lnTo>
                  <a:pt x="18287" y="82295"/>
                </a:lnTo>
                <a:lnTo>
                  <a:pt x="16763" y="77723"/>
                </a:lnTo>
                <a:lnTo>
                  <a:pt x="16763" y="116433"/>
                </a:lnTo>
                <a:lnTo>
                  <a:pt x="21335" y="121919"/>
                </a:lnTo>
                <a:lnTo>
                  <a:pt x="22859" y="121919"/>
                </a:lnTo>
                <a:lnTo>
                  <a:pt x="22859" y="123443"/>
                </a:lnTo>
                <a:lnTo>
                  <a:pt x="25907" y="125983"/>
                </a:lnTo>
                <a:lnTo>
                  <a:pt x="25907" y="102107"/>
                </a:lnTo>
                <a:lnTo>
                  <a:pt x="27431" y="103631"/>
                </a:lnTo>
                <a:close/>
              </a:path>
              <a:path w="146684" h="143510">
                <a:moveTo>
                  <a:pt x="27431" y="41147"/>
                </a:moveTo>
                <a:lnTo>
                  <a:pt x="25907" y="41147"/>
                </a:lnTo>
                <a:lnTo>
                  <a:pt x="25907" y="43814"/>
                </a:lnTo>
                <a:lnTo>
                  <a:pt x="27431" y="41147"/>
                </a:lnTo>
                <a:close/>
              </a:path>
              <a:path w="146684" h="143510">
                <a:moveTo>
                  <a:pt x="32631" y="110176"/>
                </a:moveTo>
                <a:lnTo>
                  <a:pt x="25907" y="102107"/>
                </a:lnTo>
                <a:lnTo>
                  <a:pt x="25907" y="125983"/>
                </a:lnTo>
                <a:lnTo>
                  <a:pt x="32003" y="131063"/>
                </a:lnTo>
                <a:lnTo>
                  <a:pt x="32003" y="109727"/>
                </a:lnTo>
                <a:lnTo>
                  <a:pt x="32631" y="110176"/>
                </a:lnTo>
                <a:close/>
              </a:path>
              <a:path w="146684" h="143510">
                <a:moveTo>
                  <a:pt x="33527" y="32003"/>
                </a:moveTo>
                <a:lnTo>
                  <a:pt x="32003" y="33527"/>
                </a:lnTo>
                <a:lnTo>
                  <a:pt x="32631" y="33079"/>
                </a:lnTo>
                <a:lnTo>
                  <a:pt x="33527" y="32003"/>
                </a:lnTo>
                <a:close/>
              </a:path>
              <a:path w="146684" h="143510">
                <a:moveTo>
                  <a:pt x="32631" y="33079"/>
                </a:moveTo>
                <a:lnTo>
                  <a:pt x="32003" y="33527"/>
                </a:lnTo>
                <a:lnTo>
                  <a:pt x="32003" y="33832"/>
                </a:lnTo>
                <a:lnTo>
                  <a:pt x="32631" y="33079"/>
                </a:lnTo>
                <a:close/>
              </a:path>
              <a:path w="146684" h="143510">
                <a:moveTo>
                  <a:pt x="33527" y="111251"/>
                </a:moveTo>
                <a:lnTo>
                  <a:pt x="32631" y="110176"/>
                </a:lnTo>
                <a:lnTo>
                  <a:pt x="32003" y="109727"/>
                </a:lnTo>
                <a:lnTo>
                  <a:pt x="33527" y="111251"/>
                </a:lnTo>
                <a:close/>
              </a:path>
              <a:path w="146684" h="143510">
                <a:moveTo>
                  <a:pt x="33527" y="131063"/>
                </a:moveTo>
                <a:lnTo>
                  <a:pt x="33527" y="111251"/>
                </a:lnTo>
                <a:lnTo>
                  <a:pt x="32003" y="109727"/>
                </a:lnTo>
                <a:lnTo>
                  <a:pt x="32003" y="131063"/>
                </a:lnTo>
                <a:lnTo>
                  <a:pt x="33527" y="131063"/>
                </a:lnTo>
                <a:close/>
              </a:path>
              <a:path w="146684" h="143510">
                <a:moveTo>
                  <a:pt x="33527" y="32439"/>
                </a:moveTo>
                <a:lnTo>
                  <a:pt x="33527" y="32003"/>
                </a:lnTo>
                <a:lnTo>
                  <a:pt x="32631" y="33079"/>
                </a:lnTo>
                <a:lnTo>
                  <a:pt x="33527" y="32439"/>
                </a:lnTo>
                <a:close/>
              </a:path>
              <a:path w="146684" h="143510">
                <a:moveTo>
                  <a:pt x="42671" y="117347"/>
                </a:moveTo>
                <a:lnTo>
                  <a:pt x="32631" y="110176"/>
                </a:lnTo>
                <a:lnTo>
                  <a:pt x="33527" y="111251"/>
                </a:lnTo>
                <a:lnTo>
                  <a:pt x="33527" y="131063"/>
                </a:lnTo>
                <a:lnTo>
                  <a:pt x="41147" y="135418"/>
                </a:lnTo>
                <a:lnTo>
                  <a:pt x="41147" y="117347"/>
                </a:lnTo>
                <a:lnTo>
                  <a:pt x="42671" y="117347"/>
                </a:lnTo>
                <a:close/>
              </a:path>
              <a:path w="146684" h="143510">
                <a:moveTo>
                  <a:pt x="42671" y="25907"/>
                </a:moveTo>
                <a:lnTo>
                  <a:pt x="41147" y="25907"/>
                </a:lnTo>
                <a:lnTo>
                  <a:pt x="41147" y="26996"/>
                </a:lnTo>
                <a:lnTo>
                  <a:pt x="42671" y="25907"/>
                </a:lnTo>
                <a:close/>
              </a:path>
              <a:path w="146684" h="143510">
                <a:moveTo>
                  <a:pt x="51815" y="140207"/>
                </a:moveTo>
                <a:lnTo>
                  <a:pt x="51815" y="123443"/>
                </a:lnTo>
                <a:lnTo>
                  <a:pt x="41147" y="117347"/>
                </a:lnTo>
                <a:lnTo>
                  <a:pt x="41147" y="135418"/>
                </a:lnTo>
                <a:lnTo>
                  <a:pt x="44195" y="137159"/>
                </a:lnTo>
                <a:lnTo>
                  <a:pt x="45719" y="137159"/>
                </a:lnTo>
                <a:lnTo>
                  <a:pt x="51815" y="140207"/>
                </a:lnTo>
                <a:close/>
              </a:path>
              <a:path w="146684" h="143510">
                <a:moveTo>
                  <a:pt x="51815" y="21335"/>
                </a:moveTo>
                <a:lnTo>
                  <a:pt x="50291" y="21335"/>
                </a:lnTo>
                <a:lnTo>
                  <a:pt x="50291" y="21989"/>
                </a:lnTo>
                <a:lnTo>
                  <a:pt x="51815" y="21335"/>
                </a:lnTo>
                <a:close/>
              </a:path>
              <a:path w="146684" h="143510">
                <a:moveTo>
                  <a:pt x="96011" y="121919"/>
                </a:moveTo>
                <a:lnTo>
                  <a:pt x="89915" y="124967"/>
                </a:lnTo>
                <a:lnTo>
                  <a:pt x="83819" y="126491"/>
                </a:lnTo>
                <a:lnTo>
                  <a:pt x="60959" y="126491"/>
                </a:lnTo>
                <a:lnTo>
                  <a:pt x="56387" y="124967"/>
                </a:lnTo>
                <a:lnTo>
                  <a:pt x="50291" y="121919"/>
                </a:lnTo>
                <a:lnTo>
                  <a:pt x="51815" y="123443"/>
                </a:lnTo>
                <a:lnTo>
                  <a:pt x="51815" y="140207"/>
                </a:lnTo>
                <a:lnTo>
                  <a:pt x="67055" y="143255"/>
                </a:lnTo>
                <a:lnTo>
                  <a:pt x="80771" y="143255"/>
                </a:lnTo>
                <a:lnTo>
                  <a:pt x="88391" y="141731"/>
                </a:lnTo>
                <a:lnTo>
                  <a:pt x="94487" y="140207"/>
                </a:lnTo>
                <a:lnTo>
                  <a:pt x="94487" y="123443"/>
                </a:lnTo>
                <a:lnTo>
                  <a:pt x="96011" y="121919"/>
                </a:lnTo>
                <a:close/>
              </a:path>
              <a:path w="146684" h="143510">
                <a:moveTo>
                  <a:pt x="96011" y="21989"/>
                </a:moveTo>
                <a:lnTo>
                  <a:pt x="96011" y="21335"/>
                </a:lnTo>
                <a:lnTo>
                  <a:pt x="94487" y="21335"/>
                </a:lnTo>
                <a:lnTo>
                  <a:pt x="96011" y="21989"/>
                </a:lnTo>
                <a:close/>
              </a:path>
              <a:path w="146684" h="143510">
                <a:moveTo>
                  <a:pt x="105155" y="135418"/>
                </a:moveTo>
                <a:lnTo>
                  <a:pt x="105155" y="117347"/>
                </a:lnTo>
                <a:lnTo>
                  <a:pt x="94487" y="123443"/>
                </a:lnTo>
                <a:lnTo>
                  <a:pt x="94487" y="140207"/>
                </a:lnTo>
                <a:lnTo>
                  <a:pt x="100583" y="137159"/>
                </a:lnTo>
                <a:lnTo>
                  <a:pt x="102107" y="137159"/>
                </a:lnTo>
                <a:lnTo>
                  <a:pt x="105155" y="135418"/>
                </a:lnTo>
                <a:close/>
              </a:path>
              <a:path w="146684" h="143510">
                <a:moveTo>
                  <a:pt x="105155" y="26996"/>
                </a:moveTo>
                <a:lnTo>
                  <a:pt x="105155" y="25907"/>
                </a:lnTo>
                <a:lnTo>
                  <a:pt x="103631" y="25907"/>
                </a:lnTo>
                <a:lnTo>
                  <a:pt x="105155" y="26996"/>
                </a:lnTo>
                <a:close/>
              </a:path>
              <a:path w="146684" h="143510">
                <a:moveTo>
                  <a:pt x="113672" y="110176"/>
                </a:moveTo>
                <a:lnTo>
                  <a:pt x="103631" y="117347"/>
                </a:lnTo>
                <a:lnTo>
                  <a:pt x="105155" y="117347"/>
                </a:lnTo>
                <a:lnTo>
                  <a:pt x="105155" y="135418"/>
                </a:lnTo>
                <a:lnTo>
                  <a:pt x="112775" y="131063"/>
                </a:lnTo>
                <a:lnTo>
                  <a:pt x="112775" y="111251"/>
                </a:lnTo>
                <a:lnTo>
                  <a:pt x="113672" y="110176"/>
                </a:lnTo>
                <a:close/>
              </a:path>
              <a:path w="146684" h="143510">
                <a:moveTo>
                  <a:pt x="114299" y="33527"/>
                </a:moveTo>
                <a:lnTo>
                  <a:pt x="112775" y="32003"/>
                </a:lnTo>
                <a:lnTo>
                  <a:pt x="113672" y="33079"/>
                </a:lnTo>
                <a:lnTo>
                  <a:pt x="114299" y="33527"/>
                </a:lnTo>
                <a:close/>
              </a:path>
              <a:path w="146684" h="143510">
                <a:moveTo>
                  <a:pt x="113672" y="33079"/>
                </a:moveTo>
                <a:lnTo>
                  <a:pt x="112775" y="32003"/>
                </a:lnTo>
                <a:lnTo>
                  <a:pt x="112775" y="32439"/>
                </a:lnTo>
                <a:lnTo>
                  <a:pt x="113672" y="33079"/>
                </a:lnTo>
                <a:close/>
              </a:path>
              <a:path w="146684" h="143510">
                <a:moveTo>
                  <a:pt x="114299" y="109727"/>
                </a:moveTo>
                <a:lnTo>
                  <a:pt x="113672" y="110176"/>
                </a:lnTo>
                <a:lnTo>
                  <a:pt x="112775" y="111251"/>
                </a:lnTo>
                <a:lnTo>
                  <a:pt x="114299" y="109727"/>
                </a:lnTo>
                <a:close/>
              </a:path>
              <a:path w="146684" h="143510">
                <a:moveTo>
                  <a:pt x="114299" y="131063"/>
                </a:moveTo>
                <a:lnTo>
                  <a:pt x="114299" y="109727"/>
                </a:lnTo>
                <a:lnTo>
                  <a:pt x="112775" y="111251"/>
                </a:lnTo>
                <a:lnTo>
                  <a:pt x="112775" y="131063"/>
                </a:lnTo>
                <a:lnTo>
                  <a:pt x="114299" y="131063"/>
                </a:lnTo>
                <a:close/>
              </a:path>
              <a:path w="146684" h="143510">
                <a:moveTo>
                  <a:pt x="124967" y="51815"/>
                </a:moveTo>
                <a:lnTo>
                  <a:pt x="124967" y="21335"/>
                </a:lnTo>
                <a:lnTo>
                  <a:pt x="123443" y="21335"/>
                </a:lnTo>
                <a:lnTo>
                  <a:pt x="114299" y="13715"/>
                </a:lnTo>
                <a:lnTo>
                  <a:pt x="114299" y="33527"/>
                </a:lnTo>
                <a:lnTo>
                  <a:pt x="113672" y="33079"/>
                </a:lnTo>
                <a:lnTo>
                  <a:pt x="120395" y="41147"/>
                </a:lnTo>
                <a:lnTo>
                  <a:pt x="124967" y="51815"/>
                </a:lnTo>
                <a:close/>
              </a:path>
              <a:path w="146684" h="143510">
                <a:moveTo>
                  <a:pt x="129539" y="116433"/>
                </a:moveTo>
                <a:lnTo>
                  <a:pt x="129539" y="77723"/>
                </a:lnTo>
                <a:lnTo>
                  <a:pt x="128015" y="83819"/>
                </a:lnTo>
                <a:lnTo>
                  <a:pt x="124967" y="92963"/>
                </a:lnTo>
                <a:lnTo>
                  <a:pt x="120395" y="103631"/>
                </a:lnTo>
                <a:lnTo>
                  <a:pt x="120395" y="102107"/>
                </a:lnTo>
                <a:lnTo>
                  <a:pt x="113672" y="110176"/>
                </a:lnTo>
                <a:lnTo>
                  <a:pt x="114299" y="109727"/>
                </a:lnTo>
                <a:lnTo>
                  <a:pt x="114299" y="131063"/>
                </a:lnTo>
                <a:lnTo>
                  <a:pt x="123443" y="123443"/>
                </a:lnTo>
                <a:lnTo>
                  <a:pt x="124967" y="121919"/>
                </a:lnTo>
                <a:lnTo>
                  <a:pt x="129539" y="116433"/>
                </a:lnTo>
                <a:close/>
              </a:path>
              <a:path w="146684" h="143510">
                <a:moveTo>
                  <a:pt x="144779" y="85343"/>
                </a:moveTo>
                <a:lnTo>
                  <a:pt x="144779" y="57911"/>
                </a:lnTo>
                <a:lnTo>
                  <a:pt x="141731" y="50291"/>
                </a:lnTo>
                <a:lnTo>
                  <a:pt x="140207" y="44195"/>
                </a:lnTo>
                <a:lnTo>
                  <a:pt x="134111" y="32003"/>
                </a:lnTo>
                <a:lnTo>
                  <a:pt x="132587" y="32003"/>
                </a:lnTo>
                <a:lnTo>
                  <a:pt x="124967" y="22859"/>
                </a:lnTo>
                <a:lnTo>
                  <a:pt x="124967" y="50291"/>
                </a:lnTo>
                <a:lnTo>
                  <a:pt x="128015" y="56387"/>
                </a:lnTo>
                <a:lnTo>
                  <a:pt x="128015" y="60959"/>
                </a:lnTo>
                <a:lnTo>
                  <a:pt x="129539" y="67055"/>
                </a:lnTo>
                <a:lnTo>
                  <a:pt x="129539" y="116433"/>
                </a:lnTo>
                <a:lnTo>
                  <a:pt x="132587" y="112775"/>
                </a:lnTo>
                <a:lnTo>
                  <a:pt x="134111" y="111251"/>
                </a:lnTo>
                <a:lnTo>
                  <a:pt x="140207" y="100583"/>
                </a:lnTo>
                <a:lnTo>
                  <a:pt x="140207" y="99059"/>
                </a:lnTo>
                <a:lnTo>
                  <a:pt x="143255" y="92963"/>
                </a:lnTo>
                <a:lnTo>
                  <a:pt x="144779" y="85343"/>
                </a:lnTo>
                <a:close/>
              </a:path>
              <a:path w="146684" h="143510">
                <a:moveTo>
                  <a:pt x="146303" y="71627"/>
                </a:moveTo>
                <a:lnTo>
                  <a:pt x="144779" y="64007"/>
                </a:lnTo>
                <a:lnTo>
                  <a:pt x="144779" y="79247"/>
                </a:lnTo>
                <a:lnTo>
                  <a:pt x="146303" y="7162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7" name="object 2737"/>
          <p:cNvSpPr/>
          <p:nvPr/>
        </p:nvSpPr>
        <p:spPr>
          <a:xfrm>
            <a:off x="7732137" y="4217912"/>
            <a:ext cx="74230" cy="74230"/>
          </a:xfrm>
          <a:custGeom>
            <a:avLst/>
            <a:gdLst/>
            <a:ahLst/>
            <a:cxnLst/>
            <a:rect l="l" t="t" r="r" b="b"/>
            <a:pathLst>
              <a:path w="62229" h="62229">
                <a:moveTo>
                  <a:pt x="16763" y="55117"/>
                </a:moveTo>
                <a:lnTo>
                  <a:pt x="16763" y="37337"/>
                </a:lnTo>
                <a:lnTo>
                  <a:pt x="1523" y="48005"/>
                </a:lnTo>
                <a:lnTo>
                  <a:pt x="0" y="48005"/>
                </a:lnTo>
                <a:lnTo>
                  <a:pt x="0" y="51053"/>
                </a:lnTo>
                <a:lnTo>
                  <a:pt x="10667" y="61721"/>
                </a:lnTo>
                <a:lnTo>
                  <a:pt x="12191" y="60197"/>
                </a:lnTo>
                <a:lnTo>
                  <a:pt x="13715" y="60197"/>
                </a:lnTo>
                <a:lnTo>
                  <a:pt x="16763" y="55117"/>
                </a:lnTo>
                <a:close/>
              </a:path>
              <a:path w="62229" h="62229">
                <a:moveTo>
                  <a:pt x="61721" y="24383"/>
                </a:moveTo>
                <a:lnTo>
                  <a:pt x="60007" y="14906"/>
                </a:lnTo>
                <a:lnTo>
                  <a:pt x="54863" y="6857"/>
                </a:lnTo>
                <a:lnTo>
                  <a:pt x="46172" y="1714"/>
                </a:lnTo>
                <a:lnTo>
                  <a:pt x="36766" y="0"/>
                </a:lnTo>
                <a:lnTo>
                  <a:pt x="27646" y="1714"/>
                </a:lnTo>
                <a:lnTo>
                  <a:pt x="19811" y="6857"/>
                </a:lnTo>
                <a:lnTo>
                  <a:pt x="14406" y="14192"/>
                </a:lnTo>
                <a:lnTo>
                  <a:pt x="12001" y="22097"/>
                </a:lnTo>
                <a:lnTo>
                  <a:pt x="12739" y="30003"/>
                </a:lnTo>
                <a:lnTo>
                  <a:pt x="16763" y="37337"/>
                </a:lnTo>
                <a:lnTo>
                  <a:pt x="16763" y="55117"/>
                </a:lnTo>
                <a:lnTo>
                  <a:pt x="18287" y="52577"/>
                </a:lnTo>
                <a:lnTo>
                  <a:pt x="18287" y="24383"/>
                </a:lnTo>
                <a:lnTo>
                  <a:pt x="19430" y="17621"/>
                </a:lnTo>
                <a:lnTo>
                  <a:pt x="22859" y="11429"/>
                </a:lnTo>
                <a:lnTo>
                  <a:pt x="29289" y="7143"/>
                </a:lnTo>
                <a:lnTo>
                  <a:pt x="36575" y="5714"/>
                </a:lnTo>
                <a:lnTo>
                  <a:pt x="43862" y="7143"/>
                </a:lnTo>
                <a:lnTo>
                  <a:pt x="50291" y="11429"/>
                </a:lnTo>
                <a:lnTo>
                  <a:pt x="54578" y="17621"/>
                </a:lnTo>
                <a:lnTo>
                  <a:pt x="56006" y="24383"/>
                </a:lnTo>
                <a:lnTo>
                  <a:pt x="56006" y="40121"/>
                </a:lnTo>
                <a:lnTo>
                  <a:pt x="60007" y="33861"/>
                </a:lnTo>
                <a:lnTo>
                  <a:pt x="61721" y="24383"/>
                </a:lnTo>
                <a:close/>
              </a:path>
              <a:path w="62229" h="62229">
                <a:moveTo>
                  <a:pt x="56006" y="40121"/>
                </a:moveTo>
                <a:lnTo>
                  <a:pt x="56006" y="24383"/>
                </a:lnTo>
                <a:lnTo>
                  <a:pt x="54578" y="31146"/>
                </a:lnTo>
                <a:lnTo>
                  <a:pt x="50291" y="37337"/>
                </a:lnTo>
                <a:lnTo>
                  <a:pt x="43862" y="41624"/>
                </a:lnTo>
                <a:lnTo>
                  <a:pt x="36575" y="43052"/>
                </a:lnTo>
                <a:lnTo>
                  <a:pt x="29289" y="41624"/>
                </a:lnTo>
                <a:lnTo>
                  <a:pt x="22859" y="37337"/>
                </a:lnTo>
                <a:lnTo>
                  <a:pt x="19430" y="31146"/>
                </a:lnTo>
                <a:lnTo>
                  <a:pt x="18287" y="24383"/>
                </a:lnTo>
                <a:lnTo>
                  <a:pt x="18287" y="52577"/>
                </a:lnTo>
                <a:lnTo>
                  <a:pt x="22859" y="44957"/>
                </a:lnTo>
                <a:lnTo>
                  <a:pt x="31075" y="48125"/>
                </a:lnTo>
                <a:lnTo>
                  <a:pt x="39433" y="48577"/>
                </a:lnTo>
                <a:lnTo>
                  <a:pt x="47505" y="46458"/>
                </a:lnTo>
                <a:lnTo>
                  <a:pt x="54863" y="41909"/>
                </a:lnTo>
                <a:lnTo>
                  <a:pt x="56006" y="4012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8" name="object 2738"/>
          <p:cNvSpPr/>
          <p:nvPr/>
        </p:nvSpPr>
        <p:spPr>
          <a:xfrm>
            <a:off x="7753952" y="4267906"/>
            <a:ext cx="40144" cy="12876"/>
          </a:xfrm>
          <a:custGeom>
            <a:avLst/>
            <a:gdLst/>
            <a:ahLst/>
            <a:cxnLst/>
            <a:rect l="l" t="t" r="r" b="b"/>
            <a:pathLst>
              <a:path w="33654" h="10795">
                <a:moveTo>
                  <a:pt x="33527" y="0"/>
                </a:moveTo>
                <a:lnTo>
                  <a:pt x="0" y="3047"/>
                </a:lnTo>
                <a:lnTo>
                  <a:pt x="7619" y="10667"/>
                </a:lnTo>
                <a:lnTo>
                  <a:pt x="16763" y="4571"/>
                </a:lnTo>
                <a:lnTo>
                  <a:pt x="19811" y="9143"/>
                </a:lnTo>
                <a:lnTo>
                  <a:pt x="33527" y="0"/>
                </a:lnTo>
                <a:close/>
              </a:path>
            </a:pathLst>
          </a:custGeom>
          <a:solidFill>
            <a:srgbClr val="00ACE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39" name="object 2739"/>
          <p:cNvSpPr/>
          <p:nvPr/>
        </p:nvSpPr>
        <p:spPr>
          <a:xfrm>
            <a:off x="7746679" y="4260632"/>
            <a:ext cx="54536" cy="25754"/>
          </a:xfrm>
          <a:custGeom>
            <a:avLst/>
            <a:gdLst/>
            <a:ahLst/>
            <a:cxnLst/>
            <a:rect l="l" t="t" r="r" b="b"/>
            <a:pathLst>
              <a:path w="45720" h="21589">
                <a:moveTo>
                  <a:pt x="15239" y="9143"/>
                </a:moveTo>
                <a:lnTo>
                  <a:pt x="10667" y="4571"/>
                </a:lnTo>
                <a:lnTo>
                  <a:pt x="7619" y="3047"/>
                </a:lnTo>
                <a:lnTo>
                  <a:pt x="4571" y="3047"/>
                </a:lnTo>
                <a:lnTo>
                  <a:pt x="3047" y="4571"/>
                </a:lnTo>
                <a:lnTo>
                  <a:pt x="0" y="6095"/>
                </a:lnTo>
                <a:lnTo>
                  <a:pt x="0" y="10667"/>
                </a:lnTo>
                <a:lnTo>
                  <a:pt x="3047" y="12191"/>
                </a:lnTo>
                <a:lnTo>
                  <a:pt x="9143" y="19811"/>
                </a:lnTo>
                <a:lnTo>
                  <a:pt x="10667" y="20573"/>
                </a:lnTo>
                <a:lnTo>
                  <a:pt x="10667" y="12191"/>
                </a:lnTo>
                <a:lnTo>
                  <a:pt x="15239" y="9143"/>
                </a:lnTo>
                <a:close/>
              </a:path>
              <a:path w="45720" h="21589">
                <a:moveTo>
                  <a:pt x="18287" y="12191"/>
                </a:moveTo>
                <a:lnTo>
                  <a:pt x="15239" y="9143"/>
                </a:lnTo>
                <a:lnTo>
                  <a:pt x="10667" y="12191"/>
                </a:lnTo>
                <a:lnTo>
                  <a:pt x="18287" y="12191"/>
                </a:lnTo>
                <a:close/>
              </a:path>
              <a:path w="45720" h="21589">
                <a:moveTo>
                  <a:pt x="21335" y="18287"/>
                </a:moveTo>
                <a:lnTo>
                  <a:pt x="18287" y="13715"/>
                </a:lnTo>
                <a:lnTo>
                  <a:pt x="18287" y="12191"/>
                </a:lnTo>
                <a:lnTo>
                  <a:pt x="10667" y="12191"/>
                </a:lnTo>
                <a:lnTo>
                  <a:pt x="10667" y="20573"/>
                </a:lnTo>
                <a:lnTo>
                  <a:pt x="12191" y="21335"/>
                </a:lnTo>
                <a:lnTo>
                  <a:pt x="16763" y="21335"/>
                </a:lnTo>
                <a:lnTo>
                  <a:pt x="21335" y="18287"/>
                </a:lnTo>
                <a:close/>
              </a:path>
              <a:path w="45720" h="21589">
                <a:moveTo>
                  <a:pt x="27431" y="7619"/>
                </a:moveTo>
                <a:lnTo>
                  <a:pt x="25907" y="6095"/>
                </a:lnTo>
                <a:lnTo>
                  <a:pt x="22859" y="4571"/>
                </a:lnTo>
                <a:lnTo>
                  <a:pt x="19811" y="6095"/>
                </a:lnTo>
                <a:lnTo>
                  <a:pt x="15239" y="9143"/>
                </a:lnTo>
                <a:lnTo>
                  <a:pt x="18287" y="12191"/>
                </a:lnTo>
                <a:lnTo>
                  <a:pt x="18287" y="13715"/>
                </a:lnTo>
                <a:lnTo>
                  <a:pt x="22859" y="14630"/>
                </a:lnTo>
                <a:lnTo>
                  <a:pt x="22859" y="10667"/>
                </a:lnTo>
                <a:lnTo>
                  <a:pt x="27431" y="7619"/>
                </a:lnTo>
                <a:close/>
              </a:path>
              <a:path w="45720" h="21589">
                <a:moveTo>
                  <a:pt x="25907" y="15239"/>
                </a:moveTo>
                <a:lnTo>
                  <a:pt x="18287" y="13715"/>
                </a:lnTo>
                <a:lnTo>
                  <a:pt x="21335" y="18287"/>
                </a:lnTo>
                <a:lnTo>
                  <a:pt x="25907" y="15239"/>
                </a:lnTo>
                <a:close/>
              </a:path>
              <a:path w="45720" h="21589">
                <a:moveTo>
                  <a:pt x="25907" y="21335"/>
                </a:moveTo>
                <a:lnTo>
                  <a:pt x="25907" y="15239"/>
                </a:lnTo>
                <a:lnTo>
                  <a:pt x="21335" y="18287"/>
                </a:lnTo>
                <a:lnTo>
                  <a:pt x="22859" y="21335"/>
                </a:lnTo>
                <a:lnTo>
                  <a:pt x="25907" y="21335"/>
                </a:lnTo>
                <a:close/>
              </a:path>
              <a:path w="45720" h="21589">
                <a:moveTo>
                  <a:pt x="30479" y="12191"/>
                </a:moveTo>
                <a:lnTo>
                  <a:pt x="27431" y="7619"/>
                </a:lnTo>
                <a:lnTo>
                  <a:pt x="22859" y="10667"/>
                </a:lnTo>
                <a:lnTo>
                  <a:pt x="30479" y="12191"/>
                </a:lnTo>
                <a:close/>
              </a:path>
              <a:path w="45720" h="21589">
                <a:moveTo>
                  <a:pt x="30479" y="18795"/>
                </a:moveTo>
                <a:lnTo>
                  <a:pt x="30479" y="12191"/>
                </a:lnTo>
                <a:lnTo>
                  <a:pt x="22859" y="10667"/>
                </a:lnTo>
                <a:lnTo>
                  <a:pt x="22859" y="14630"/>
                </a:lnTo>
                <a:lnTo>
                  <a:pt x="25907" y="15239"/>
                </a:lnTo>
                <a:lnTo>
                  <a:pt x="25907" y="21335"/>
                </a:lnTo>
                <a:lnTo>
                  <a:pt x="28955" y="19811"/>
                </a:lnTo>
                <a:lnTo>
                  <a:pt x="30479" y="18795"/>
                </a:lnTo>
                <a:close/>
              </a:path>
              <a:path w="45720" h="21589">
                <a:moveTo>
                  <a:pt x="45719" y="4571"/>
                </a:moveTo>
                <a:lnTo>
                  <a:pt x="42671" y="3047"/>
                </a:lnTo>
                <a:lnTo>
                  <a:pt x="41147" y="0"/>
                </a:lnTo>
                <a:lnTo>
                  <a:pt x="38099" y="0"/>
                </a:lnTo>
                <a:lnTo>
                  <a:pt x="36575" y="1523"/>
                </a:lnTo>
                <a:lnTo>
                  <a:pt x="27431" y="7619"/>
                </a:lnTo>
                <a:lnTo>
                  <a:pt x="30479" y="12191"/>
                </a:lnTo>
                <a:lnTo>
                  <a:pt x="30479" y="18795"/>
                </a:lnTo>
                <a:lnTo>
                  <a:pt x="42671" y="10667"/>
                </a:lnTo>
                <a:lnTo>
                  <a:pt x="44195" y="9143"/>
                </a:lnTo>
                <a:lnTo>
                  <a:pt x="45719" y="45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0" name="object 2740"/>
          <p:cNvSpPr/>
          <p:nvPr/>
        </p:nvSpPr>
        <p:spPr>
          <a:xfrm>
            <a:off x="7659421" y="4311535"/>
            <a:ext cx="290861" cy="283587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1" name="object 2741"/>
          <p:cNvSpPr/>
          <p:nvPr/>
        </p:nvSpPr>
        <p:spPr>
          <a:xfrm>
            <a:off x="7703051" y="4351526"/>
            <a:ext cx="151490" cy="151490"/>
          </a:xfrm>
          <a:custGeom>
            <a:avLst/>
            <a:gdLst/>
            <a:ahLst/>
            <a:cxnLst/>
            <a:rect l="l" t="t" r="r" b="b"/>
            <a:pathLst>
              <a:path w="127000" h="127000">
                <a:moveTo>
                  <a:pt x="126491" y="64007"/>
                </a:moveTo>
                <a:lnTo>
                  <a:pt x="121658" y="39219"/>
                </a:lnTo>
                <a:lnTo>
                  <a:pt x="108394" y="18859"/>
                </a:lnTo>
                <a:lnTo>
                  <a:pt x="88558" y="5072"/>
                </a:lnTo>
                <a:lnTo>
                  <a:pt x="64007" y="0"/>
                </a:lnTo>
                <a:lnTo>
                  <a:pt x="38576" y="5072"/>
                </a:lnTo>
                <a:lnTo>
                  <a:pt x="18287" y="18859"/>
                </a:lnTo>
                <a:lnTo>
                  <a:pt x="4857" y="39219"/>
                </a:lnTo>
                <a:lnTo>
                  <a:pt x="0" y="64007"/>
                </a:lnTo>
                <a:lnTo>
                  <a:pt x="4857" y="88558"/>
                </a:lnTo>
                <a:lnTo>
                  <a:pt x="18287" y="108394"/>
                </a:lnTo>
                <a:lnTo>
                  <a:pt x="38576" y="121658"/>
                </a:lnTo>
                <a:lnTo>
                  <a:pt x="64007" y="126491"/>
                </a:lnTo>
                <a:lnTo>
                  <a:pt x="88558" y="121658"/>
                </a:lnTo>
                <a:lnTo>
                  <a:pt x="108394" y="108394"/>
                </a:lnTo>
                <a:lnTo>
                  <a:pt x="121658" y="88558"/>
                </a:lnTo>
                <a:lnTo>
                  <a:pt x="126491" y="64007"/>
                </a:lnTo>
                <a:close/>
              </a:path>
            </a:pathLst>
          </a:custGeom>
          <a:solidFill>
            <a:srgbClr val="00285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2" name="object 2742"/>
          <p:cNvSpPr/>
          <p:nvPr/>
        </p:nvSpPr>
        <p:spPr>
          <a:xfrm>
            <a:off x="7692143" y="4342436"/>
            <a:ext cx="172698" cy="171184"/>
          </a:xfrm>
          <a:custGeom>
            <a:avLst/>
            <a:gdLst/>
            <a:ahLst/>
            <a:cxnLst/>
            <a:rect l="l" t="t" r="r" b="b"/>
            <a:pathLst>
              <a:path w="144779" h="143510">
                <a:moveTo>
                  <a:pt x="1523" y="79247"/>
                </a:moveTo>
                <a:lnTo>
                  <a:pt x="1523" y="64007"/>
                </a:lnTo>
                <a:lnTo>
                  <a:pt x="0" y="71627"/>
                </a:lnTo>
                <a:lnTo>
                  <a:pt x="1523" y="79247"/>
                </a:lnTo>
                <a:close/>
              </a:path>
              <a:path w="144779" h="143510">
                <a:moveTo>
                  <a:pt x="144779" y="77723"/>
                </a:moveTo>
                <a:lnTo>
                  <a:pt x="144779" y="71627"/>
                </a:lnTo>
                <a:lnTo>
                  <a:pt x="143255" y="64007"/>
                </a:lnTo>
                <a:lnTo>
                  <a:pt x="143255" y="56387"/>
                </a:lnTo>
                <a:lnTo>
                  <a:pt x="140207" y="50291"/>
                </a:lnTo>
                <a:lnTo>
                  <a:pt x="138683" y="42671"/>
                </a:lnTo>
                <a:lnTo>
                  <a:pt x="132587" y="32003"/>
                </a:lnTo>
                <a:lnTo>
                  <a:pt x="131063" y="30479"/>
                </a:lnTo>
                <a:lnTo>
                  <a:pt x="123443" y="21335"/>
                </a:lnTo>
                <a:lnTo>
                  <a:pt x="112775" y="12191"/>
                </a:lnTo>
                <a:lnTo>
                  <a:pt x="100583" y="6095"/>
                </a:lnTo>
                <a:lnTo>
                  <a:pt x="92963" y="3047"/>
                </a:lnTo>
                <a:lnTo>
                  <a:pt x="86867" y="1523"/>
                </a:lnTo>
                <a:lnTo>
                  <a:pt x="79247" y="0"/>
                </a:lnTo>
                <a:lnTo>
                  <a:pt x="64007" y="0"/>
                </a:lnTo>
                <a:lnTo>
                  <a:pt x="57911" y="1523"/>
                </a:lnTo>
                <a:lnTo>
                  <a:pt x="50291" y="3047"/>
                </a:lnTo>
                <a:lnTo>
                  <a:pt x="45719" y="6095"/>
                </a:lnTo>
                <a:lnTo>
                  <a:pt x="44195" y="6095"/>
                </a:lnTo>
                <a:lnTo>
                  <a:pt x="33527" y="12191"/>
                </a:lnTo>
                <a:lnTo>
                  <a:pt x="32003" y="12191"/>
                </a:lnTo>
                <a:lnTo>
                  <a:pt x="22859" y="21335"/>
                </a:lnTo>
                <a:lnTo>
                  <a:pt x="21335" y="21335"/>
                </a:lnTo>
                <a:lnTo>
                  <a:pt x="13715" y="30479"/>
                </a:lnTo>
                <a:lnTo>
                  <a:pt x="13715" y="32003"/>
                </a:lnTo>
                <a:lnTo>
                  <a:pt x="12191" y="32003"/>
                </a:lnTo>
                <a:lnTo>
                  <a:pt x="3047" y="50291"/>
                </a:lnTo>
                <a:lnTo>
                  <a:pt x="1523" y="57911"/>
                </a:lnTo>
                <a:lnTo>
                  <a:pt x="1523" y="86867"/>
                </a:lnTo>
                <a:lnTo>
                  <a:pt x="4571" y="92963"/>
                </a:lnTo>
                <a:lnTo>
                  <a:pt x="6095" y="100583"/>
                </a:lnTo>
                <a:lnTo>
                  <a:pt x="12191" y="111251"/>
                </a:lnTo>
                <a:lnTo>
                  <a:pt x="13715" y="111251"/>
                </a:lnTo>
                <a:lnTo>
                  <a:pt x="16763" y="115519"/>
                </a:lnTo>
                <a:lnTo>
                  <a:pt x="16763" y="65531"/>
                </a:lnTo>
                <a:lnTo>
                  <a:pt x="18287" y="59435"/>
                </a:lnTo>
                <a:lnTo>
                  <a:pt x="21335" y="50291"/>
                </a:lnTo>
                <a:lnTo>
                  <a:pt x="25907" y="39623"/>
                </a:lnTo>
                <a:lnTo>
                  <a:pt x="25907" y="41147"/>
                </a:lnTo>
                <a:lnTo>
                  <a:pt x="32003" y="33832"/>
                </a:lnTo>
                <a:lnTo>
                  <a:pt x="32003" y="33527"/>
                </a:lnTo>
                <a:lnTo>
                  <a:pt x="33527" y="32003"/>
                </a:lnTo>
                <a:lnTo>
                  <a:pt x="33527" y="32257"/>
                </a:lnTo>
                <a:lnTo>
                  <a:pt x="41147" y="25907"/>
                </a:lnTo>
                <a:lnTo>
                  <a:pt x="51815" y="19811"/>
                </a:lnTo>
                <a:lnTo>
                  <a:pt x="51815" y="20573"/>
                </a:lnTo>
                <a:lnTo>
                  <a:pt x="56387" y="18287"/>
                </a:lnTo>
                <a:lnTo>
                  <a:pt x="60959" y="16763"/>
                </a:lnTo>
                <a:lnTo>
                  <a:pt x="83819" y="16763"/>
                </a:lnTo>
                <a:lnTo>
                  <a:pt x="89915" y="18287"/>
                </a:lnTo>
                <a:lnTo>
                  <a:pt x="92963" y="20319"/>
                </a:lnTo>
                <a:lnTo>
                  <a:pt x="92963" y="19811"/>
                </a:lnTo>
                <a:lnTo>
                  <a:pt x="103631" y="25907"/>
                </a:lnTo>
                <a:lnTo>
                  <a:pt x="111251" y="32257"/>
                </a:lnTo>
                <a:lnTo>
                  <a:pt x="111251" y="32003"/>
                </a:lnTo>
                <a:lnTo>
                  <a:pt x="112775" y="33527"/>
                </a:lnTo>
                <a:lnTo>
                  <a:pt x="112775" y="33832"/>
                </a:lnTo>
                <a:lnTo>
                  <a:pt x="118871" y="41147"/>
                </a:lnTo>
                <a:lnTo>
                  <a:pt x="118871" y="39623"/>
                </a:lnTo>
                <a:lnTo>
                  <a:pt x="124967" y="50291"/>
                </a:lnTo>
                <a:lnTo>
                  <a:pt x="126491" y="54863"/>
                </a:lnTo>
                <a:lnTo>
                  <a:pt x="126491" y="60959"/>
                </a:lnTo>
                <a:lnTo>
                  <a:pt x="128015" y="67055"/>
                </a:lnTo>
                <a:lnTo>
                  <a:pt x="128015" y="115519"/>
                </a:lnTo>
                <a:lnTo>
                  <a:pt x="131063" y="111251"/>
                </a:lnTo>
                <a:lnTo>
                  <a:pt x="132587" y="111251"/>
                </a:lnTo>
                <a:lnTo>
                  <a:pt x="138683" y="99059"/>
                </a:lnTo>
                <a:lnTo>
                  <a:pt x="141731" y="91439"/>
                </a:lnTo>
                <a:lnTo>
                  <a:pt x="143255" y="85343"/>
                </a:lnTo>
                <a:lnTo>
                  <a:pt x="144779" y="77723"/>
                </a:lnTo>
                <a:close/>
              </a:path>
              <a:path w="144779" h="143510">
                <a:moveTo>
                  <a:pt x="32835" y="110420"/>
                </a:moveTo>
                <a:lnTo>
                  <a:pt x="25907" y="102107"/>
                </a:lnTo>
                <a:lnTo>
                  <a:pt x="25907" y="103631"/>
                </a:lnTo>
                <a:lnTo>
                  <a:pt x="21335" y="91439"/>
                </a:lnTo>
                <a:lnTo>
                  <a:pt x="18287" y="86867"/>
                </a:lnTo>
                <a:lnTo>
                  <a:pt x="18287" y="82295"/>
                </a:lnTo>
                <a:lnTo>
                  <a:pt x="16763" y="76199"/>
                </a:lnTo>
                <a:lnTo>
                  <a:pt x="16763" y="115519"/>
                </a:lnTo>
                <a:lnTo>
                  <a:pt x="21335" y="121919"/>
                </a:lnTo>
                <a:lnTo>
                  <a:pt x="22859" y="121919"/>
                </a:lnTo>
                <a:lnTo>
                  <a:pt x="32003" y="129539"/>
                </a:lnTo>
                <a:lnTo>
                  <a:pt x="32003" y="109727"/>
                </a:lnTo>
                <a:lnTo>
                  <a:pt x="32835" y="110420"/>
                </a:lnTo>
                <a:close/>
              </a:path>
              <a:path w="144779" h="143510">
                <a:moveTo>
                  <a:pt x="33527" y="32003"/>
                </a:moveTo>
                <a:lnTo>
                  <a:pt x="32003" y="33527"/>
                </a:lnTo>
                <a:lnTo>
                  <a:pt x="32835" y="32835"/>
                </a:lnTo>
                <a:lnTo>
                  <a:pt x="33527" y="32003"/>
                </a:lnTo>
                <a:close/>
              </a:path>
              <a:path w="144779" h="143510">
                <a:moveTo>
                  <a:pt x="32835" y="32835"/>
                </a:moveTo>
                <a:lnTo>
                  <a:pt x="32003" y="33527"/>
                </a:lnTo>
                <a:lnTo>
                  <a:pt x="32003" y="33832"/>
                </a:lnTo>
                <a:lnTo>
                  <a:pt x="32835" y="32835"/>
                </a:lnTo>
                <a:close/>
              </a:path>
              <a:path w="144779" h="143510">
                <a:moveTo>
                  <a:pt x="33527" y="111251"/>
                </a:moveTo>
                <a:lnTo>
                  <a:pt x="32835" y="110420"/>
                </a:lnTo>
                <a:lnTo>
                  <a:pt x="32003" y="109727"/>
                </a:lnTo>
                <a:lnTo>
                  <a:pt x="33527" y="111251"/>
                </a:lnTo>
                <a:close/>
              </a:path>
              <a:path w="144779" h="143510">
                <a:moveTo>
                  <a:pt x="33527" y="131063"/>
                </a:moveTo>
                <a:lnTo>
                  <a:pt x="33527" y="111251"/>
                </a:lnTo>
                <a:lnTo>
                  <a:pt x="32003" y="109727"/>
                </a:lnTo>
                <a:lnTo>
                  <a:pt x="32003" y="131063"/>
                </a:lnTo>
                <a:lnTo>
                  <a:pt x="33527" y="131063"/>
                </a:lnTo>
                <a:close/>
              </a:path>
              <a:path w="144779" h="143510">
                <a:moveTo>
                  <a:pt x="33527" y="32257"/>
                </a:moveTo>
                <a:lnTo>
                  <a:pt x="33527" y="32003"/>
                </a:lnTo>
                <a:lnTo>
                  <a:pt x="32835" y="32835"/>
                </a:lnTo>
                <a:lnTo>
                  <a:pt x="33527" y="32257"/>
                </a:lnTo>
                <a:close/>
              </a:path>
              <a:path w="144779" h="143510">
                <a:moveTo>
                  <a:pt x="51815" y="121919"/>
                </a:moveTo>
                <a:lnTo>
                  <a:pt x="41147" y="117347"/>
                </a:lnTo>
                <a:lnTo>
                  <a:pt x="32835" y="110420"/>
                </a:lnTo>
                <a:lnTo>
                  <a:pt x="33527" y="111251"/>
                </a:lnTo>
                <a:lnTo>
                  <a:pt x="33527" y="131063"/>
                </a:lnTo>
                <a:lnTo>
                  <a:pt x="44195" y="137159"/>
                </a:lnTo>
                <a:lnTo>
                  <a:pt x="45719" y="137159"/>
                </a:lnTo>
                <a:lnTo>
                  <a:pt x="50291" y="139445"/>
                </a:lnTo>
                <a:lnTo>
                  <a:pt x="50291" y="121919"/>
                </a:lnTo>
                <a:lnTo>
                  <a:pt x="51815" y="121919"/>
                </a:lnTo>
                <a:close/>
              </a:path>
              <a:path w="144779" h="143510">
                <a:moveTo>
                  <a:pt x="51815" y="20573"/>
                </a:moveTo>
                <a:lnTo>
                  <a:pt x="51815" y="19811"/>
                </a:lnTo>
                <a:lnTo>
                  <a:pt x="50291" y="21335"/>
                </a:lnTo>
                <a:lnTo>
                  <a:pt x="51815" y="20573"/>
                </a:lnTo>
                <a:close/>
              </a:path>
              <a:path w="144779" h="143510">
                <a:moveTo>
                  <a:pt x="94487" y="138683"/>
                </a:moveTo>
                <a:lnTo>
                  <a:pt x="94487" y="121919"/>
                </a:lnTo>
                <a:lnTo>
                  <a:pt x="88391" y="123443"/>
                </a:lnTo>
                <a:lnTo>
                  <a:pt x="83819" y="124967"/>
                </a:lnTo>
                <a:lnTo>
                  <a:pt x="77723" y="126491"/>
                </a:lnTo>
                <a:lnTo>
                  <a:pt x="65531" y="126491"/>
                </a:lnTo>
                <a:lnTo>
                  <a:pt x="60959" y="124967"/>
                </a:lnTo>
                <a:lnTo>
                  <a:pt x="54863" y="123443"/>
                </a:lnTo>
                <a:lnTo>
                  <a:pt x="50291" y="121919"/>
                </a:lnTo>
                <a:lnTo>
                  <a:pt x="50291" y="139445"/>
                </a:lnTo>
                <a:lnTo>
                  <a:pt x="51815" y="140207"/>
                </a:lnTo>
                <a:lnTo>
                  <a:pt x="57911" y="141731"/>
                </a:lnTo>
                <a:lnTo>
                  <a:pt x="65531" y="141731"/>
                </a:lnTo>
                <a:lnTo>
                  <a:pt x="73151" y="143255"/>
                </a:lnTo>
                <a:lnTo>
                  <a:pt x="80771" y="141731"/>
                </a:lnTo>
                <a:lnTo>
                  <a:pt x="86867" y="141731"/>
                </a:lnTo>
                <a:lnTo>
                  <a:pt x="94487" y="138683"/>
                </a:lnTo>
                <a:close/>
              </a:path>
              <a:path w="144779" h="143510">
                <a:moveTo>
                  <a:pt x="94487" y="21335"/>
                </a:moveTo>
                <a:lnTo>
                  <a:pt x="92963" y="19811"/>
                </a:lnTo>
                <a:lnTo>
                  <a:pt x="92963" y="20319"/>
                </a:lnTo>
                <a:lnTo>
                  <a:pt x="94487" y="21335"/>
                </a:lnTo>
                <a:close/>
              </a:path>
              <a:path w="144779" h="143510">
                <a:moveTo>
                  <a:pt x="105155" y="134547"/>
                </a:moveTo>
                <a:lnTo>
                  <a:pt x="105155" y="117347"/>
                </a:lnTo>
                <a:lnTo>
                  <a:pt x="92963" y="121919"/>
                </a:lnTo>
                <a:lnTo>
                  <a:pt x="94487" y="121919"/>
                </a:lnTo>
                <a:lnTo>
                  <a:pt x="94487" y="138683"/>
                </a:lnTo>
                <a:lnTo>
                  <a:pt x="100583" y="137159"/>
                </a:lnTo>
                <a:lnTo>
                  <a:pt x="105155" y="134547"/>
                </a:lnTo>
                <a:close/>
              </a:path>
              <a:path w="144779" h="143510">
                <a:moveTo>
                  <a:pt x="111944" y="110420"/>
                </a:moveTo>
                <a:lnTo>
                  <a:pt x="103631" y="117347"/>
                </a:lnTo>
                <a:lnTo>
                  <a:pt x="105155" y="117347"/>
                </a:lnTo>
                <a:lnTo>
                  <a:pt x="105155" y="134547"/>
                </a:lnTo>
                <a:lnTo>
                  <a:pt x="111251" y="131063"/>
                </a:lnTo>
                <a:lnTo>
                  <a:pt x="111251" y="111251"/>
                </a:lnTo>
                <a:lnTo>
                  <a:pt x="111944" y="110420"/>
                </a:lnTo>
                <a:close/>
              </a:path>
              <a:path w="144779" h="143510">
                <a:moveTo>
                  <a:pt x="112775" y="33527"/>
                </a:moveTo>
                <a:lnTo>
                  <a:pt x="111251" y="32003"/>
                </a:lnTo>
                <a:lnTo>
                  <a:pt x="111944" y="32835"/>
                </a:lnTo>
                <a:lnTo>
                  <a:pt x="112775" y="33527"/>
                </a:lnTo>
                <a:close/>
              </a:path>
              <a:path w="144779" h="143510">
                <a:moveTo>
                  <a:pt x="111944" y="32835"/>
                </a:moveTo>
                <a:lnTo>
                  <a:pt x="111251" y="32003"/>
                </a:lnTo>
                <a:lnTo>
                  <a:pt x="111251" y="32257"/>
                </a:lnTo>
                <a:lnTo>
                  <a:pt x="111944" y="32835"/>
                </a:lnTo>
                <a:close/>
              </a:path>
              <a:path w="144779" h="143510">
                <a:moveTo>
                  <a:pt x="112775" y="109727"/>
                </a:moveTo>
                <a:lnTo>
                  <a:pt x="111944" y="110420"/>
                </a:lnTo>
                <a:lnTo>
                  <a:pt x="111251" y="111251"/>
                </a:lnTo>
                <a:lnTo>
                  <a:pt x="112775" y="109727"/>
                </a:lnTo>
                <a:close/>
              </a:path>
              <a:path w="144779" h="143510">
                <a:moveTo>
                  <a:pt x="112775" y="131063"/>
                </a:moveTo>
                <a:lnTo>
                  <a:pt x="112775" y="109727"/>
                </a:lnTo>
                <a:lnTo>
                  <a:pt x="111251" y="111251"/>
                </a:lnTo>
                <a:lnTo>
                  <a:pt x="111251" y="131063"/>
                </a:lnTo>
                <a:lnTo>
                  <a:pt x="112775" y="131063"/>
                </a:lnTo>
                <a:close/>
              </a:path>
              <a:path w="144779" h="143510">
                <a:moveTo>
                  <a:pt x="112775" y="33832"/>
                </a:moveTo>
                <a:lnTo>
                  <a:pt x="112775" y="33527"/>
                </a:lnTo>
                <a:lnTo>
                  <a:pt x="111944" y="32835"/>
                </a:lnTo>
                <a:lnTo>
                  <a:pt x="112775" y="33832"/>
                </a:lnTo>
                <a:close/>
              </a:path>
              <a:path w="144779" h="143510">
                <a:moveTo>
                  <a:pt x="128015" y="115519"/>
                </a:moveTo>
                <a:lnTo>
                  <a:pt x="128015" y="77723"/>
                </a:lnTo>
                <a:lnTo>
                  <a:pt x="126491" y="82295"/>
                </a:lnTo>
                <a:lnTo>
                  <a:pt x="124967" y="88391"/>
                </a:lnTo>
                <a:lnTo>
                  <a:pt x="123443" y="92963"/>
                </a:lnTo>
                <a:lnTo>
                  <a:pt x="118871" y="103631"/>
                </a:lnTo>
                <a:lnTo>
                  <a:pt x="118871" y="102107"/>
                </a:lnTo>
                <a:lnTo>
                  <a:pt x="111944" y="110420"/>
                </a:lnTo>
                <a:lnTo>
                  <a:pt x="112775" y="109727"/>
                </a:lnTo>
                <a:lnTo>
                  <a:pt x="112775" y="129539"/>
                </a:lnTo>
                <a:lnTo>
                  <a:pt x="123443" y="121919"/>
                </a:lnTo>
                <a:lnTo>
                  <a:pt x="128015" y="1155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3" name="object 2743"/>
          <p:cNvSpPr/>
          <p:nvPr/>
        </p:nvSpPr>
        <p:spPr>
          <a:xfrm>
            <a:off x="7753951" y="4391521"/>
            <a:ext cx="49234" cy="65896"/>
          </a:xfrm>
          <a:custGeom>
            <a:avLst/>
            <a:gdLst/>
            <a:ahLst/>
            <a:cxnLst/>
            <a:rect l="l" t="t" r="r" b="b"/>
            <a:pathLst>
              <a:path w="41275" h="55245">
                <a:moveTo>
                  <a:pt x="35051" y="19811"/>
                </a:moveTo>
                <a:lnTo>
                  <a:pt x="35051" y="6095"/>
                </a:lnTo>
                <a:lnTo>
                  <a:pt x="28955" y="0"/>
                </a:lnTo>
                <a:lnTo>
                  <a:pt x="12191" y="0"/>
                </a:lnTo>
                <a:lnTo>
                  <a:pt x="6095" y="6095"/>
                </a:lnTo>
                <a:lnTo>
                  <a:pt x="6095" y="19811"/>
                </a:lnTo>
                <a:lnTo>
                  <a:pt x="13715" y="19811"/>
                </a:lnTo>
                <a:lnTo>
                  <a:pt x="13715" y="9143"/>
                </a:lnTo>
                <a:lnTo>
                  <a:pt x="16763" y="6095"/>
                </a:lnTo>
                <a:lnTo>
                  <a:pt x="24383" y="6095"/>
                </a:lnTo>
                <a:lnTo>
                  <a:pt x="27431" y="9143"/>
                </a:lnTo>
                <a:lnTo>
                  <a:pt x="27431" y="19811"/>
                </a:lnTo>
                <a:lnTo>
                  <a:pt x="35051" y="19811"/>
                </a:lnTo>
                <a:close/>
              </a:path>
              <a:path w="41275" h="55245">
                <a:moveTo>
                  <a:pt x="41147" y="53339"/>
                </a:moveTo>
                <a:lnTo>
                  <a:pt x="41147" y="24383"/>
                </a:lnTo>
                <a:lnTo>
                  <a:pt x="39623" y="22859"/>
                </a:lnTo>
                <a:lnTo>
                  <a:pt x="1523" y="22859"/>
                </a:lnTo>
                <a:lnTo>
                  <a:pt x="0" y="24383"/>
                </a:lnTo>
                <a:lnTo>
                  <a:pt x="0" y="53339"/>
                </a:lnTo>
                <a:lnTo>
                  <a:pt x="1523" y="54863"/>
                </a:lnTo>
                <a:lnTo>
                  <a:pt x="15239" y="54863"/>
                </a:lnTo>
                <a:lnTo>
                  <a:pt x="15239" y="33527"/>
                </a:lnTo>
                <a:lnTo>
                  <a:pt x="19811" y="28955"/>
                </a:lnTo>
                <a:lnTo>
                  <a:pt x="22859" y="28955"/>
                </a:lnTo>
                <a:lnTo>
                  <a:pt x="24383" y="32003"/>
                </a:lnTo>
                <a:lnTo>
                  <a:pt x="24383" y="54863"/>
                </a:lnTo>
                <a:lnTo>
                  <a:pt x="39623" y="54863"/>
                </a:lnTo>
                <a:lnTo>
                  <a:pt x="41147" y="53339"/>
                </a:lnTo>
                <a:close/>
              </a:path>
              <a:path w="41275" h="55245">
                <a:moveTo>
                  <a:pt x="18287" y="38099"/>
                </a:moveTo>
                <a:lnTo>
                  <a:pt x="15239" y="35051"/>
                </a:lnTo>
                <a:lnTo>
                  <a:pt x="15239" y="54863"/>
                </a:lnTo>
                <a:lnTo>
                  <a:pt x="16763" y="54863"/>
                </a:lnTo>
                <a:lnTo>
                  <a:pt x="16763" y="47243"/>
                </a:lnTo>
                <a:lnTo>
                  <a:pt x="18287" y="38099"/>
                </a:lnTo>
                <a:close/>
              </a:path>
              <a:path w="41275" h="55245">
                <a:moveTo>
                  <a:pt x="24383" y="54863"/>
                </a:moveTo>
                <a:lnTo>
                  <a:pt x="24383" y="48767"/>
                </a:lnTo>
                <a:lnTo>
                  <a:pt x="16763" y="48767"/>
                </a:lnTo>
                <a:lnTo>
                  <a:pt x="16763" y="54863"/>
                </a:lnTo>
                <a:lnTo>
                  <a:pt x="24383" y="54863"/>
                </a:lnTo>
                <a:close/>
              </a:path>
              <a:path w="41275" h="55245">
                <a:moveTo>
                  <a:pt x="24383" y="47243"/>
                </a:moveTo>
                <a:lnTo>
                  <a:pt x="24383" y="38099"/>
                </a:lnTo>
                <a:lnTo>
                  <a:pt x="22859" y="38099"/>
                </a:lnTo>
                <a:lnTo>
                  <a:pt x="24383" y="472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4" name="object 2744"/>
          <p:cNvSpPr/>
          <p:nvPr/>
        </p:nvSpPr>
        <p:spPr>
          <a:xfrm>
            <a:off x="7394013" y="4326077"/>
            <a:ext cx="287223" cy="28722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5" name="object 2745"/>
          <p:cNvSpPr/>
          <p:nvPr/>
        </p:nvSpPr>
        <p:spPr>
          <a:xfrm>
            <a:off x="7434004" y="4367889"/>
            <a:ext cx="154519" cy="149218"/>
          </a:xfrm>
          <a:custGeom>
            <a:avLst/>
            <a:gdLst/>
            <a:ahLst/>
            <a:cxnLst/>
            <a:rect l="l" t="t" r="r" b="b"/>
            <a:pathLst>
              <a:path w="129540" h="125095">
                <a:moveTo>
                  <a:pt x="129539" y="62483"/>
                </a:moveTo>
                <a:lnTo>
                  <a:pt x="124444" y="37933"/>
                </a:lnTo>
                <a:lnTo>
                  <a:pt x="110489" y="18097"/>
                </a:lnTo>
                <a:lnTo>
                  <a:pt x="89677" y="4833"/>
                </a:lnTo>
                <a:lnTo>
                  <a:pt x="64007" y="0"/>
                </a:lnTo>
                <a:lnTo>
                  <a:pt x="39219" y="4833"/>
                </a:lnTo>
                <a:lnTo>
                  <a:pt x="18859" y="18097"/>
                </a:lnTo>
                <a:lnTo>
                  <a:pt x="5072" y="37933"/>
                </a:lnTo>
                <a:lnTo>
                  <a:pt x="0" y="62483"/>
                </a:lnTo>
                <a:lnTo>
                  <a:pt x="5072" y="87034"/>
                </a:lnTo>
                <a:lnTo>
                  <a:pt x="18859" y="106870"/>
                </a:lnTo>
                <a:lnTo>
                  <a:pt x="39219" y="120134"/>
                </a:lnTo>
                <a:lnTo>
                  <a:pt x="64007" y="124967"/>
                </a:lnTo>
                <a:lnTo>
                  <a:pt x="89677" y="120134"/>
                </a:lnTo>
                <a:lnTo>
                  <a:pt x="110489" y="106870"/>
                </a:lnTo>
                <a:lnTo>
                  <a:pt x="124444" y="87034"/>
                </a:lnTo>
                <a:lnTo>
                  <a:pt x="129539" y="62483"/>
                </a:lnTo>
                <a:close/>
              </a:path>
            </a:pathLst>
          </a:custGeom>
          <a:solidFill>
            <a:srgbClr val="1F3FE6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6" name="object 2746"/>
          <p:cNvSpPr/>
          <p:nvPr/>
        </p:nvSpPr>
        <p:spPr>
          <a:xfrm>
            <a:off x="7424916" y="4356981"/>
            <a:ext cx="172698" cy="171184"/>
          </a:xfrm>
          <a:custGeom>
            <a:avLst/>
            <a:gdLst/>
            <a:ahLst/>
            <a:cxnLst/>
            <a:rect l="l" t="t" r="r" b="b"/>
            <a:pathLst>
              <a:path w="144779" h="143510">
                <a:moveTo>
                  <a:pt x="6095" y="99059"/>
                </a:moveTo>
                <a:lnTo>
                  <a:pt x="6095" y="44195"/>
                </a:lnTo>
                <a:lnTo>
                  <a:pt x="4571" y="44195"/>
                </a:lnTo>
                <a:lnTo>
                  <a:pt x="3047" y="50291"/>
                </a:lnTo>
                <a:lnTo>
                  <a:pt x="1523" y="57911"/>
                </a:lnTo>
                <a:lnTo>
                  <a:pt x="0" y="64007"/>
                </a:lnTo>
                <a:lnTo>
                  <a:pt x="0" y="79247"/>
                </a:lnTo>
                <a:lnTo>
                  <a:pt x="1523" y="86867"/>
                </a:lnTo>
                <a:lnTo>
                  <a:pt x="4571" y="99059"/>
                </a:lnTo>
                <a:lnTo>
                  <a:pt x="6095" y="99059"/>
                </a:lnTo>
                <a:close/>
              </a:path>
              <a:path w="144779" h="143510">
                <a:moveTo>
                  <a:pt x="12191" y="111251"/>
                </a:moveTo>
                <a:lnTo>
                  <a:pt x="12191" y="32003"/>
                </a:lnTo>
                <a:lnTo>
                  <a:pt x="6095" y="42671"/>
                </a:lnTo>
                <a:lnTo>
                  <a:pt x="6095" y="100583"/>
                </a:lnTo>
                <a:lnTo>
                  <a:pt x="12191" y="111251"/>
                </a:lnTo>
                <a:close/>
              </a:path>
              <a:path w="144779" h="143510">
                <a:moveTo>
                  <a:pt x="112775" y="33527"/>
                </a:moveTo>
                <a:lnTo>
                  <a:pt x="112775" y="12191"/>
                </a:lnTo>
                <a:lnTo>
                  <a:pt x="111251" y="12191"/>
                </a:lnTo>
                <a:lnTo>
                  <a:pt x="100583" y="6095"/>
                </a:lnTo>
                <a:lnTo>
                  <a:pt x="92963" y="3047"/>
                </a:lnTo>
                <a:lnTo>
                  <a:pt x="86867" y="1523"/>
                </a:lnTo>
                <a:lnTo>
                  <a:pt x="79247" y="0"/>
                </a:lnTo>
                <a:lnTo>
                  <a:pt x="71627" y="0"/>
                </a:lnTo>
                <a:lnTo>
                  <a:pt x="64007" y="1523"/>
                </a:lnTo>
                <a:lnTo>
                  <a:pt x="57911" y="1523"/>
                </a:lnTo>
                <a:lnTo>
                  <a:pt x="50291" y="3047"/>
                </a:lnTo>
                <a:lnTo>
                  <a:pt x="44195" y="6095"/>
                </a:lnTo>
                <a:lnTo>
                  <a:pt x="42671" y="6095"/>
                </a:lnTo>
                <a:lnTo>
                  <a:pt x="32003" y="12191"/>
                </a:lnTo>
                <a:lnTo>
                  <a:pt x="30479" y="13715"/>
                </a:lnTo>
                <a:lnTo>
                  <a:pt x="21335" y="21335"/>
                </a:lnTo>
                <a:lnTo>
                  <a:pt x="19811" y="21335"/>
                </a:lnTo>
                <a:lnTo>
                  <a:pt x="12191" y="30479"/>
                </a:lnTo>
                <a:lnTo>
                  <a:pt x="12191" y="112775"/>
                </a:lnTo>
                <a:lnTo>
                  <a:pt x="15239" y="116433"/>
                </a:lnTo>
                <a:lnTo>
                  <a:pt x="15239" y="71627"/>
                </a:lnTo>
                <a:lnTo>
                  <a:pt x="16763" y="65531"/>
                </a:lnTo>
                <a:lnTo>
                  <a:pt x="16763" y="59435"/>
                </a:lnTo>
                <a:lnTo>
                  <a:pt x="19811" y="50291"/>
                </a:lnTo>
                <a:lnTo>
                  <a:pt x="24383" y="42290"/>
                </a:lnTo>
                <a:lnTo>
                  <a:pt x="24383" y="41147"/>
                </a:lnTo>
                <a:lnTo>
                  <a:pt x="32003" y="32003"/>
                </a:lnTo>
                <a:lnTo>
                  <a:pt x="32003" y="33527"/>
                </a:lnTo>
                <a:lnTo>
                  <a:pt x="39623" y="27177"/>
                </a:lnTo>
                <a:lnTo>
                  <a:pt x="39623" y="25907"/>
                </a:lnTo>
                <a:lnTo>
                  <a:pt x="50291" y="19811"/>
                </a:lnTo>
                <a:lnTo>
                  <a:pt x="50291" y="21335"/>
                </a:lnTo>
                <a:lnTo>
                  <a:pt x="56387" y="18287"/>
                </a:lnTo>
                <a:lnTo>
                  <a:pt x="60959" y="16763"/>
                </a:lnTo>
                <a:lnTo>
                  <a:pt x="77723" y="16763"/>
                </a:lnTo>
                <a:lnTo>
                  <a:pt x="83819" y="18287"/>
                </a:lnTo>
                <a:lnTo>
                  <a:pt x="89915" y="18287"/>
                </a:lnTo>
                <a:lnTo>
                  <a:pt x="92963" y="20319"/>
                </a:lnTo>
                <a:lnTo>
                  <a:pt x="92963" y="19811"/>
                </a:lnTo>
                <a:lnTo>
                  <a:pt x="105155" y="25907"/>
                </a:lnTo>
                <a:lnTo>
                  <a:pt x="105155" y="27177"/>
                </a:lnTo>
                <a:lnTo>
                  <a:pt x="111251" y="32257"/>
                </a:lnTo>
                <a:lnTo>
                  <a:pt x="111251" y="32003"/>
                </a:lnTo>
                <a:lnTo>
                  <a:pt x="112775" y="33527"/>
                </a:lnTo>
                <a:close/>
              </a:path>
              <a:path w="144779" h="143510">
                <a:moveTo>
                  <a:pt x="25907" y="103631"/>
                </a:moveTo>
                <a:lnTo>
                  <a:pt x="19811" y="92963"/>
                </a:lnTo>
                <a:lnTo>
                  <a:pt x="18287" y="88391"/>
                </a:lnTo>
                <a:lnTo>
                  <a:pt x="15239" y="76199"/>
                </a:lnTo>
                <a:lnTo>
                  <a:pt x="15239" y="116433"/>
                </a:lnTo>
                <a:lnTo>
                  <a:pt x="19811" y="121919"/>
                </a:lnTo>
                <a:lnTo>
                  <a:pt x="21335" y="121919"/>
                </a:lnTo>
                <a:lnTo>
                  <a:pt x="24383" y="124459"/>
                </a:lnTo>
                <a:lnTo>
                  <a:pt x="24383" y="102107"/>
                </a:lnTo>
                <a:lnTo>
                  <a:pt x="25907" y="103631"/>
                </a:lnTo>
                <a:close/>
              </a:path>
              <a:path w="144779" h="143510">
                <a:moveTo>
                  <a:pt x="25907" y="39623"/>
                </a:moveTo>
                <a:lnTo>
                  <a:pt x="24383" y="41147"/>
                </a:lnTo>
                <a:lnTo>
                  <a:pt x="24383" y="42290"/>
                </a:lnTo>
                <a:lnTo>
                  <a:pt x="25907" y="39623"/>
                </a:lnTo>
                <a:close/>
              </a:path>
              <a:path w="144779" h="143510">
                <a:moveTo>
                  <a:pt x="41147" y="117347"/>
                </a:moveTo>
                <a:lnTo>
                  <a:pt x="32003" y="109727"/>
                </a:lnTo>
                <a:lnTo>
                  <a:pt x="32003" y="111251"/>
                </a:lnTo>
                <a:lnTo>
                  <a:pt x="24383" y="102107"/>
                </a:lnTo>
                <a:lnTo>
                  <a:pt x="24383" y="124459"/>
                </a:lnTo>
                <a:lnTo>
                  <a:pt x="30479" y="129539"/>
                </a:lnTo>
                <a:lnTo>
                  <a:pt x="32003" y="131063"/>
                </a:lnTo>
                <a:lnTo>
                  <a:pt x="39623" y="135418"/>
                </a:lnTo>
                <a:lnTo>
                  <a:pt x="39623" y="117347"/>
                </a:lnTo>
                <a:lnTo>
                  <a:pt x="41147" y="117347"/>
                </a:lnTo>
                <a:close/>
              </a:path>
              <a:path w="144779" h="143510">
                <a:moveTo>
                  <a:pt x="41147" y="25907"/>
                </a:moveTo>
                <a:lnTo>
                  <a:pt x="39623" y="25907"/>
                </a:lnTo>
                <a:lnTo>
                  <a:pt x="39623" y="27177"/>
                </a:lnTo>
                <a:lnTo>
                  <a:pt x="41147" y="25907"/>
                </a:lnTo>
                <a:close/>
              </a:path>
              <a:path w="144779" h="143510">
                <a:moveTo>
                  <a:pt x="94487" y="121919"/>
                </a:moveTo>
                <a:lnTo>
                  <a:pt x="88391" y="124967"/>
                </a:lnTo>
                <a:lnTo>
                  <a:pt x="82295" y="126491"/>
                </a:lnTo>
                <a:lnTo>
                  <a:pt x="65531" y="126491"/>
                </a:lnTo>
                <a:lnTo>
                  <a:pt x="60959" y="124967"/>
                </a:lnTo>
                <a:lnTo>
                  <a:pt x="54863" y="123443"/>
                </a:lnTo>
                <a:lnTo>
                  <a:pt x="50291" y="121919"/>
                </a:lnTo>
                <a:lnTo>
                  <a:pt x="50291" y="123443"/>
                </a:lnTo>
                <a:lnTo>
                  <a:pt x="39623" y="117347"/>
                </a:lnTo>
                <a:lnTo>
                  <a:pt x="39623" y="135418"/>
                </a:lnTo>
                <a:lnTo>
                  <a:pt x="42671" y="137159"/>
                </a:lnTo>
                <a:lnTo>
                  <a:pt x="44195" y="137159"/>
                </a:lnTo>
                <a:lnTo>
                  <a:pt x="50291" y="140207"/>
                </a:lnTo>
                <a:lnTo>
                  <a:pt x="65531" y="143255"/>
                </a:lnTo>
                <a:lnTo>
                  <a:pt x="73151" y="143255"/>
                </a:lnTo>
                <a:lnTo>
                  <a:pt x="79247" y="141731"/>
                </a:lnTo>
                <a:lnTo>
                  <a:pt x="86867" y="141731"/>
                </a:lnTo>
                <a:lnTo>
                  <a:pt x="92963" y="140512"/>
                </a:lnTo>
                <a:lnTo>
                  <a:pt x="92963" y="123443"/>
                </a:lnTo>
                <a:lnTo>
                  <a:pt x="94487" y="121919"/>
                </a:lnTo>
                <a:close/>
              </a:path>
              <a:path w="144779" h="143510">
                <a:moveTo>
                  <a:pt x="94487" y="21335"/>
                </a:moveTo>
                <a:lnTo>
                  <a:pt x="92963" y="19811"/>
                </a:lnTo>
                <a:lnTo>
                  <a:pt x="92963" y="20319"/>
                </a:lnTo>
                <a:lnTo>
                  <a:pt x="94487" y="21335"/>
                </a:lnTo>
                <a:close/>
              </a:path>
              <a:path w="144779" h="143510">
                <a:moveTo>
                  <a:pt x="105155" y="134547"/>
                </a:moveTo>
                <a:lnTo>
                  <a:pt x="105155" y="117347"/>
                </a:lnTo>
                <a:lnTo>
                  <a:pt x="92963" y="123443"/>
                </a:lnTo>
                <a:lnTo>
                  <a:pt x="92963" y="140512"/>
                </a:lnTo>
                <a:lnTo>
                  <a:pt x="94487" y="140207"/>
                </a:lnTo>
                <a:lnTo>
                  <a:pt x="100583" y="137159"/>
                </a:lnTo>
                <a:lnTo>
                  <a:pt x="105155" y="134547"/>
                </a:lnTo>
                <a:close/>
              </a:path>
              <a:path w="144779" h="143510">
                <a:moveTo>
                  <a:pt x="105155" y="27177"/>
                </a:moveTo>
                <a:lnTo>
                  <a:pt x="105155" y="25907"/>
                </a:lnTo>
                <a:lnTo>
                  <a:pt x="103631" y="25907"/>
                </a:lnTo>
                <a:lnTo>
                  <a:pt x="105155" y="27177"/>
                </a:lnTo>
                <a:close/>
              </a:path>
              <a:path w="144779" h="143510">
                <a:moveTo>
                  <a:pt x="111944" y="110420"/>
                </a:moveTo>
                <a:lnTo>
                  <a:pt x="103631" y="117347"/>
                </a:lnTo>
                <a:lnTo>
                  <a:pt x="105155" y="117347"/>
                </a:lnTo>
                <a:lnTo>
                  <a:pt x="105155" y="134547"/>
                </a:lnTo>
                <a:lnTo>
                  <a:pt x="111251" y="131063"/>
                </a:lnTo>
                <a:lnTo>
                  <a:pt x="111251" y="111251"/>
                </a:lnTo>
                <a:lnTo>
                  <a:pt x="111944" y="110420"/>
                </a:lnTo>
                <a:close/>
              </a:path>
              <a:path w="144779" h="143510">
                <a:moveTo>
                  <a:pt x="112775" y="33527"/>
                </a:moveTo>
                <a:lnTo>
                  <a:pt x="111251" y="32003"/>
                </a:lnTo>
                <a:lnTo>
                  <a:pt x="111944" y="32835"/>
                </a:lnTo>
                <a:lnTo>
                  <a:pt x="112775" y="33527"/>
                </a:lnTo>
                <a:close/>
              </a:path>
              <a:path w="144779" h="143510">
                <a:moveTo>
                  <a:pt x="111944" y="32835"/>
                </a:moveTo>
                <a:lnTo>
                  <a:pt x="111251" y="32003"/>
                </a:lnTo>
                <a:lnTo>
                  <a:pt x="111251" y="32257"/>
                </a:lnTo>
                <a:lnTo>
                  <a:pt x="111944" y="32835"/>
                </a:lnTo>
                <a:close/>
              </a:path>
              <a:path w="144779" h="143510">
                <a:moveTo>
                  <a:pt x="112775" y="109727"/>
                </a:moveTo>
                <a:lnTo>
                  <a:pt x="111944" y="110420"/>
                </a:lnTo>
                <a:lnTo>
                  <a:pt x="111251" y="111251"/>
                </a:lnTo>
                <a:lnTo>
                  <a:pt x="112775" y="109727"/>
                </a:lnTo>
                <a:close/>
              </a:path>
              <a:path w="144779" h="143510">
                <a:moveTo>
                  <a:pt x="112775" y="131063"/>
                </a:moveTo>
                <a:lnTo>
                  <a:pt x="112775" y="109727"/>
                </a:lnTo>
                <a:lnTo>
                  <a:pt x="111251" y="111251"/>
                </a:lnTo>
                <a:lnTo>
                  <a:pt x="111251" y="131063"/>
                </a:lnTo>
                <a:lnTo>
                  <a:pt x="112775" y="131063"/>
                </a:lnTo>
                <a:close/>
              </a:path>
              <a:path w="144779" h="143510">
                <a:moveTo>
                  <a:pt x="138683" y="100583"/>
                </a:moveTo>
                <a:lnTo>
                  <a:pt x="138683" y="42671"/>
                </a:lnTo>
                <a:lnTo>
                  <a:pt x="132587" y="32003"/>
                </a:lnTo>
                <a:lnTo>
                  <a:pt x="131063" y="30479"/>
                </a:lnTo>
                <a:lnTo>
                  <a:pt x="123443" y="21335"/>
                </a:lnTo>
                <a:lnTo>
                  <a:pt x="112775" y="13715"/>
                </a:lnTo>
                <a:lnTo>
                  <a:pt x="112775" y="33527"/>
                </a:lnTo>
                <a:lnTo>
                  <a:pt x="111944" y="32835"/>
                </a:lnTo>
                <a:lnTo>
                  <a:pt x="118871" y="41147"/>
                </a:lnTo>
                <a:lnTo>
                  <a:pt x="118871" y="39623"/>
                </a:lnTo>
                <a:lnTo>
                  <a:pt x="124967" y="50291"/>
                </a:lnTo>
                <a:lnTo>
                  <a:pt x="124967" y="53339"/>
                </a:lnTo>
                <a:lnTo>
                  <a:pt x="126491" y="56387"/>
                </a:lnTo>
                <a:lnTo>
                  <a:pt x="128015" y="60959"/>
                </a:lnTo>
                <a:lnTo>
                  <a:pt x="128015" y="116433"/>
                </a:lnTo>
                <a:lnTo>
                  <a:pt x="131063" y="112775"/>
                </a:lnTo>
                <a:lnTo>
                  <a:pt x="132587" y="111251"/>
                </a:lnTo>
                <a:lnTo>
                  <a:pt x="138683" y="100583"/>
                </a:lnTo>
                <a:close/>
              </a:path>
              <a:path w="144779" h="143510">
                <a:moveTo>
                  <a:pt x="124967" y="120091"/>
                </a:moveTo>
                <a:lnTo>
                  <a:pt x="124967" y="92963"/>
                </a:lnTo>
                <a:lnTo>
                  <a:pt x="118871" y="103631"/>
                </a:lnTo>
                <a:lnTo>
                  <a:pt x="118871" y="102107"/>
                </a:lnTo>
                <a:lnTo>
                  <a:pt x="111944" y="110420"/>
                </a:lnTo>
                <a:lnTo>
                  <a:pt x="112775" y="109727"/>
                </a:lnTo>
                <a:lnTo>
                  <a:pt x="112775" y="129539"/>
                </a:lnTo>
                <a:lnTo>
                  <a:pt x="123443" y="121919"/>
                </a:lnTo>
                <a:lnTo>
                  <a:pt x="124967" y="120091"/>
                </a:lnTo>
                <a:close/>
              </a:path>
              <a:path w="144779" h="143510">
                <a:moveTo>
                  <a:pt x="124967" y="53339"/>
                </a:moveTo>
                <a:lnTo>
                  <a:pt x="124967" y="50291"/>
                </a:lnTo>
                <a:lnTo>
                  <a:pt x="123443" y="50291"/>
                </a:lnTo>
                <a:lnTo>
                  <a:pt x="124967" y="53339"/>
                </a:lnTo>
                <a:close/>
              </a:path>
              <a:path w="144779" h="143510">
                <a:moveTo>
                  <a:pt x="128015" y="116433"/>
                </a:moveTo>
                <a:lnTo>
                  <a:pt x="128015" y="83819"/>
                </a:lnTo>
                <a:lnTo>
                  <a:pt x="126491" y="88391"/>
                </a:lnTo>
                <a:lnTo>
                  <a:pt x="123443" y="92963"/>
                </a:lnTo>
                <a:lnTo>
                  <a:pt x="124967" y="92963"/>
                </a:lnTo>
                <a:lnTo>
                  <a:pt x="124967" y="120091"/>
                </a:lnTo>
                <a:lnTo>
                  <a:pt x="128015" y="116433"/>
                </a:lnTo>
                <a:close/>
              </a:path>
              <a:path w="144779" h="143510">
                <a:moveTo>
                  <a:pt x="144779" y="77723"/>
                </a:moveTo>
                <a:lnTo>
                  <a:pt x="144779" y="64007"/>
                </a:lnTo>
                <a:lnTo>
                  <a:pt x="143255" y="56387"/>
                </a:lnTo>
                <a:lnTo>
                  <a:pt x="141731" y="50291"/>
                </a:lnTo>
                <a:lnTo>
                  <a:pt x="138683" y="44195"/>
                </a:lnTo>
                <a:lnTo>
                  <a:pt x="138683" y="99059"/>
                </a:lnTo>
                <a:lnTo>
                  <a:pt x="141731" y="92963"/>
                </a:lnTo>
                <a:lnTo>
                  <a:pt x="144779" y="7772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7" name="object 2747"/>
          <p:cNvSpPr/>
          <p:nvPr/>
        </p:nvSpPr>
        <p:spPr>
          <a:xfrm>
            <a:off x="7459454" y="4521588"/>
            <a:ext cx="89380" cy="49234"/>
          </a:xfrm>
          <a:custGeom>
            <a:avLst/>
            <a:gdLst/>
            <a:ahLst/>
            <a:cxnLst/>
            <a:rect l="l" t="t" r="r" b="b"/>
            <a:pathLst>
              <a:path w="74929" h="41275">
                <a:moveTo>
                  <a:pt x="74675" y="21335"/>
                </a:moveTo>
                <a:lnTo>
                  <a:pt x="71747" y="16073"/>
                </a:lnTo>
                <a:lnTo>
                  <a:pt x="63817" y="8953"/>
                </a:lnTo>
                <a:lnTo>
                  <a:pt x="52173" y="2690"/>
                </a:lnTo>
                <a:lnTo>
                  <a:pt x="38099" y="0"/>
                </a:lnTo>
                <a:lnTo>
                  <a:pt x="23145" y="2690"/>
                </a:lnTo>
                <a:lnTo>
                  <a:pt x="11048" y="8953"/>
                </a:lnTo>
                <a:lnTo>
                  <a:pt x="2952" y="16073"/>
                </a:lnTo>
                <a:lnTo>
                  <a:pt x="0" y="21335"/>
                </a:lnTo>
                <a:lnTo>
                  <a:pt x="2952" y="26360"/>
                </a:lnTo>
                <a:lnTo>
                  <a:pt x="4571" y="27679"/>
                </a:lnTo>
                <a:lnTo>
                  <a:pt x="4571" y="21335"/>
                </a:lnTo>
                <a:lnTo>
                  <a:pt x="6095" y="18287"/>
                </a:lnTo>
                <a:lnTo>
                  <a:pt x="13715" y="13715"/>
                </a:lnTo>
                <a:lnTo>
                  <a:pt x="21335" y="13715"/>
                </a:lnTo>
                <a:lnTo>
                  <a:pt x="21335" y="32003"/>
                </a:lnTo>
                <a:lnTo>
                  <a:pt x="24383" y="34035"/>
                </a:lnTo>
                <a:lnTo>
                  <a:pt x="24383" y="15239"/>
                </a:lnTo>
                <a:lnTo>
                  <a:pt x="30479" y="9143"/>
                </a:lnTo>
                <a:lnTo>
                  <a:pt x="45719" y="9143"/>
                </a:lnTo>
                <a:lnTo>
                  <a:pt x="50291" y="15239"/>
                </a:lnTo>
                <a:lnTo>
                  <a:pt x="50291" y="35051"/>
                </a:lnTo>
                <a:lnTo>
                  <a:pt x="54863" y="32003"/>
                </a:lnTo>
                <a:lnTo>
                  <a:pt x="54863" y="13715"/>
                </a:lnTo>
                <a:lnTo>
                  <a:pt x="62483" y="13715"/>
                </a:lnTo>
                <a:lnTo>
                  <a:pt x="70103" y="18287"/>
                </a:lnTo>
                <a:lnTo>
                  <a:pt x="70103" y="27727"/>
                </a:lnTo>
                <a:lnTo>
                  <a:pt x="71747" y="26360"/>
                </a:lnTo>
                <a:lnTo>
                  <a:pt x="74675" y="21335"/>
                </a:lnTo>
                <a:close/>
              </a:path>
              <a:path w="74929" h="41275">
                <a:moveTo>
                  <a:pt x="25907" y="39148"/>
                </a:moveTo>
                <a:lnTo>
                  <a:pt x="25907" y="35051"/>
                </a:lnTo>
                <a:lnTo>
                  <a:pt x="13715" y="32003"/>
                </a:lnTo>
                <a:lnTo>
                  <a:pt x="6095" y="24383"/>
                </a:lnTo>
                <a:lnTo>
                  <a:pt x="4571" y="21335"/>
                </a:lnTo>
                <a:lnTo>
                  <a:pt x="4571" y="27679"/>
                </a:lnTo>
                <a:lnTo>
                  <a:pt x="11048" y="32956"/>
                </a:lnTo>
                <a:lnTo>
                  <a:pt x="23145" y="38695"/>
                </a:lnTo>
                <a:lnTo>
                  <a:pt x="25907" y="39148"/>
                </a:lnTo>
                <a:close/>
              </a:path>
              <a:path w="74929" h="41275">
                <a:moveTo>
                  <a:pt x="21335" y="32003"/>
                </a:moveTo>
                <a:lnTo>
                  <a:pt x="21335" y="13715"/>
                </a:lnTo>
                <a:lnTo>
                  <a:pt x="19811" y="15239"/>
                </a:lnTo>
                <a:lnTo>
                  <a:pt x="19811" y="27431"/>
                </a:lnTo>
                <a:lnTo>
                  <a:pt x="21335" y="32003"/>
                </a:lnTo>
                <a:close/>
              </a:path>
              <a:path w="74929" h="41275">
                <a:moveTo>
                  <a:pt x="70103" y="27727"/>
                </a:moveTo>
                <a:lnTo>
                  <a:pt x="70103" y="24383"/>
                </a:lnTo>
                <a:lnTo>
                  <a:pt x="62483" y="32003"/>
                </a:lnTo>
                <a:lnTo>
                  <a:pt x="50291" y="35051"/>
                </a:lnTo>
                <a:lnTo>
                  <a:pt x="50291" y="28955"/>
                </a:lnTo>
                <a:lnTo>
                  <a:pt x="45719" y="35051"/>
                </a:lnTo>
                <a:lnTo>
                  <a:pt x="30479" y="35051"/>
                </a:lnTo>
                <a:lnTo>
                  <a:pt x="24383" y="28955"/>
                </a:lnTo>
                <a:lnTo>
                  <a:pt x="24383" y="34035"/>
                </a:lnTo>
                <a:lnTo>
                  <a:pt x="25907" y="35051"/>
                </a:lnTo>
                <a:lnTo>
                  <a:pt x="25907" y="39148"/>
                </a:lnTo>
                <a:lnTo>
                  <a:pt x="38099" y="41147"/>
                </a:lnTo>
                <a:lnTo>
                  <a:pt x="52173" y="38695"/>
                </a:lnTo>
                <a:lnTo>
                  <a:pt x="63817" y="32956"/>
                </a:lnTo>
                <a:lnTo>
                  <a:pt x="70103" y="27727"/>
                </a:lnTo>
                <a:close/>
              </a:path>
              <a:path w="74929" h="41275">
                <a:moveTo>
                  <a:pt x="56387" y="27431"/>
                </a:moveTo>
                <a:lnTo>
                  <a:pt x="56387" y="18287"/>
                </a:lnTo>
                <a:lnTo>
                  <a:pt x="54863" y="15239"/>
                </a:lnTo>
                <a:lnTo>
                  <a:pt x="54863" y="32003"/>
                </a:lnTo>
                <a:lnTo>
                  <a:pt x="56387" y="274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8" name="object 2748"/>
          <p:cNvSpPr/>
          <p:nvPr/>
        </p:nvSpPr>
        <p:spPr>
          <a:xfrm>
            <a:off x="7501266" y="4567034"/>
            <a:ext cx="11362" cy="11362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9143" y="4571"/>
                </a:moveTo>
                <a:lnTo>
                  <a:pt x="9143" y="3047"/>
                </a:lnTo>
                <a:lnTo>
                  <a:pt x="6095" y="0"/>
                </a:lnTo>
                <a:lnTo>
                  <a:pt x="3047" y="0"/>
                </a:lnTo>
                <a:lnTo>
                  <a:pt x="1523" y="1523"/>
                </a:lnTo>
                <a:lnTo>
                  <a:pt x="0" y="4571"/>
                </a:lnTo>
                <a:lnTo>
                  <a:pt x="0" y="6095"/>
                </a:lnTo>
                <a:lnTo>
                  <a:pt x="1523" y="7619"/>
                </a:lnTo>
                <a:lnTo>
                  <a:pt x="1523" y="9143"/>
                </a:lnTo>
                <a:lnTo>
                  <a:pt x="4571" y="9143"/>
                </a:lnTo>
                <a:lnTo>
                  <a:pt x="9143" y="45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49" name="object 2749"/>
          <p:cNvSpPr/>
          <p:nvPr/>
        </p:nvSpPr>
        <p:spPr>
          <a:xfrm>
            <a:off x="7764860" y="4511500"/>
            <a:ext cx="287223" cy="28722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50" name="object 2750"/>
          <p:cNvSpPr/>
          <p:nvPr/>
        </p:nvSpPr>
        <p:spPr>
          <a:xfrm>
            <a:off x="7850299" y="4598758"/>
            <a:ext cx="65896" cy="67412"/>
          </a:xfrm>
          <a:custGeom>
            <a:avLst/>
            <a:gdLst/>
            <a:ahLst/>
            <a:cxnLst/>
            <a:rect l="l" t="t" r="r" b="b"/>
            <a:pathLst>
              <a:path w="55245" h="56514">
                <a:moveTo>
                  <a:pt x="54863" y="28955"/>
                </a:moveTo>
                <a:lnTo>
                  <a:pt x="52720" y="17359"/>
                </a:lnTo>
                <a:lnTo>
                  <a:pt x="46862" y="8191"/>
                </a:lnTo>
                <a:lnTo>
                  <a:pt x="38147" y="2166"/>
                </a:lnTo>
                <a:lnTo>
                  <a:pt x="27431" y="0"/>
                </a:lnTo>
                <a:lnTo>
                  <a:pt x="16716" y="2166"/>
                </a:lnTo>
                <a:lnTo>
                  <a:pt x="8000" y="8191"/>
                </a:lnTo>
                <a:lnTo>
                  <a:pt x="2143" y="17359"/>
                </a:lnTo>
                <a:lnTo>
                  <a:pt x="0" y="28955"/>
                </a:lnTo>
                <a:lnTo>
                  <a:pt x="2143" y="39671"/>
                </a:lnTo>
                <a:lnTo>
                  <a:pt x="3047" y="41017"/>
                </a:lnTo>
                <a:lnTo>
                  <a:pt x="3047" y="25907"/>
                </a:lnTo>
                <a:lnTo>
                  <a:pt x="7619" y="25907"/>
                </a:lnTo>
                <a:lnTo>
                  <a:pt x="7619" y="12191"/>
                </a:lnTo>
                <a:lnTo>
                  <a:pt x="9143" y="10667"/>
                </a:lnTo>
                <a:lnTo>
                  <a:pt x="10667" y="10667"/>
                </a:lnTo>
                <a:lnTo>
                  <a:pt x="16425" y="16425"/>
                </a:lnTo>
                <a:lnTo>
                  <a:pt x="19811" y="13715"/>
                </a:lnTo>
                <a:lnTo>
                  <a:pt x="25907" y="13715"/>
                </a:lnTo>
                <a:lnTo>
                  <a:pt x="25907" y="3047"/>
                </a:lnTo>
                <a:lnTo>
                  <a:pt x="28955" y="3047"/>
                </a:lnTo>
                <a:lnTo>
                  <a:pt x="28955" y="13715"/>
                </a:lnTo>
                <a:lnTo>
                  <a:pt x="35051" y="13715"/>
                </a:lnTo>
                <a:lnTo>
                  <a:pt x="38438" y="16425"/>
                </a:lnTo>
                <a:lnTo>
                  <a:pt x="44195" y="10667"/>
                </a:lnTo>
                <a:lnTo>
                  <a:pt x="45719" y="12191"/>
                </a:lnTo>
                <a:lnTo>
                  <a:pt x="45719" y="25907"/>
                </a:lnTo>
                <a:lnTo>
                  <a:pt x="51815" y="25907"/>
                </a:lnTo>
                <a:lnTo>
                  <a:pt x="51815" y="41017"/>
                </a:lnTo>
                <a:lnTo>
                  <a:pt x="52720" y="39671"/>
                </a:lnTo>
                <a:lnTo>
                  <a:pt x="54863" y="28955"/>
                </a:lnTo>
                <a:close/>
              </a:path>
              <a:path w="55245" h="56514">
                <a:moveTo>
                  <a:pt x="15239" y="36575"/>
                </a:moveTo>
                <a:lnTo>
                  <a:pt x="13715" y="35051"/>
                </a:lnTo>
                <a:lnTo>
                  <a:pt x="12191" y="32003"/>
                </a:lnTo>
                <a:lnTo>
                  <a:pt x="12191" y="28955"/>
                </a:lnTo>
                <a:lnTo>
                  <a:pt x="3047" y="28955"/>
                </a:lnTo>
                <a:lnTo>
                  <a:pt x="3047" y="41017"/>
                </a:lnTo>
                <a:lnTo>
                  <a:pt x="7619" y="47820"/>
                </a:lnTo>
                <a:lnTo>
                  <a:pt x="7619" y="42671"/>
                </a:lnTo>
                <a:lnTo>
                  <a:pt x="13715" y="36575"/>
                </a:lnTo>
                <a:lnTo>
                  <a:pt x="15239" y="36575"/>
                </a:lnTo>
                <a:close/>
              </a:path>
              <a:path w="55245" h="56514">
                <a:moveTo>
                  <a:pt x="13715" y="18592"/>
                </a:moveTo>
                <a:lnTo>
                  <a:pt x="13715" y="18287"/>
                </a:lnTo>
                <a:lnTo>
                  <a:pt x="7619" y="12191"/>
                </a:lnTo>
                <a:lnTo>
                  <a:pt x="7619" y="25907"/>
                </a:lnTo>
                <a:lnTo>
                  <a:pt x="12191" y="25907"/>
                </a:lnTo>
                <a:lnTo>
                  <a:pt x="12191" y="19811"/>
                </a:lnTo>
                <a:lnTo>
                  <a:pt x="13715" y="18592"/>
                </a:lnTo>
                <a:close/>
              </a:path>
              <a:path w="55245" h="56514">
                <a:moveTo>
                  <a:pt x="47243" y="47820"/>
                </a:moveTo>
                <a:lnTo>
                  <a:pt x="47243" y="44195"/>
                </a:lnTo>
                <a:lnTo>
                  <a:pt x="45719" y="44195"/>
                </a:lnTo>
                <a:lnTo>
                  <a:pt x="44195" y="45719"/>
                </a:lnTo>
                <a:lnTo>
                  <a:pt x="38099" y="39623"/>
                </a:lnTo>
                <a:lnTo>
                  <a:pt x="38099" y="38099"/>
                </a:lnTo>
                <a:lnTo>
                  <a:pt x="35051" y="41147"/>
                </a:lnTo>
                <a:lnTo>
                  <a:pt x="32003" y="42671"/>
                </a:lnTo>
                <a:lnTo>
                  <a:pt x="22859" y="42671"/>
                </a:lnTo>
                <a:lnTo>
                  <a:pt x="16763" y="39623"/>
                </a:lnTo>
                <a:lnTo>
                  <a:pt x="10667" y="45719"/>
                </a:lnTo>
                <a:lnTo>
                  <a:pt x="9143" y="45719"/>
                </a:lnTo>
                <a:lnTo>
                  <a:pt x="7619" y="44195"/>
                </a:lnTo>
                <a:lnTo>
                  <a:pt x="7619" y="47820"/>
                </a:lnTo>
                <a:lnTo>
                  <a:pt x="8000" y="48386"/>
                </a:lnTo>
                <a:lnTo>
                  <a:pt x="16716" y="54244"/>
                </a:lnTo>
                <a:lnTo>
                  <a:pt x="27431" y="56387"/>
                </a:lnTo>
                <a:lnTo>
                  <a:pt x="38147" y="54244"/>
                </a:lnTo>
                <a:lnTo>
                  <a:pt x="46862" y="48386"/>
                </a:lnTo>
                <a:lnTo>
                  <a:pt x="47243" y="47820"/>
                </a:lnTo>
                <a:close/>
              </a:path>
              <a:path w="55245" h="56514">
                <a:moveTo>
                  <a:pt x="16763" y="16763"/>
                </a:moveTo>
                <a:lnTo>
                  <a:pt x="16425" y="16425"/>
                </a:lnTo>
                <a:lnTo>
                  <a:pt x="13715" y="18592"/>
                </a:lnTo>
                <a:lnTo>
                  <a:pt x="13715" y="19811"/>
                </a:lnTo>
                <a:lnTo>
                  <a:pt x="15239" y="19811"/>
                </a:lnTo>
                <a:lnTo>
                  <a:pt x="15239" y="18287"/>
                </a:lnTo>
                <a:lnTo>
                  <a:pt x="16763" y="16763"/>
                </a:lnTo>
                <a:close/>
              </a:path>
              <a:path w="55245" h="56514">
                <a:moveTo>
                  <a:pt x="40131" y="17779"/>
                </a:moveTo>
                <a:lnTo>
                  <a:pt x="38438" y="16425"/>
                </a:lnTo>
                <a:lnTo>
                  <a:pt x="38099" y="16763"/>
                </a:lnTo>
                <a:lnTo>
                  <a:pt x="39623" y="18287"/>
                </a:lnTo>
                <a:lnTo>
                  <a:pt x="40131" y="17779"/>
                </a:lnTo>
                <a:close/>
              </a:path>
              <a:path w="55245" h="56514">
                <a:moveTo>
                  <a:pt x="51815" y="41017"/>
                </a:moveTo>
                <a:lnTo>
                  <a:pt x="51815" y="28955"/>
                </a:lnTo>
                <a:lnTo>
                  <a:pt x="42671" y="28955"/>
                </a:lnTo>
                <a:lnTo>
                  <a:pt x="42671" y="32003"/>
                </a:lnTo>
                <a:lnTo>
                  <a:pt x="41147" y="35051"/>
                </a:lnTo>
                <a:lnTo>
                  <a:pt x="39623" y="36575"/>
                </a:lnTo>
                <a:lnTo>
                  <a:pt x="45719" y="42671"/>
                </a:lnTo>
                <a:lnTo>
                  <a:pt x="47243" y="42671"/>
                </a:lnTo>
                <a:lnTo>
                  <a:pt x="47243" y="47820"/>
                </a:lnTo>
                <a:lnTo>
                  <a:pt x="51815" y="41017"/>
                </a:lnTo>
                <a:close/>
              </a:path>
              <a:path w="55245" h="56514">
                <a:moveTo>
                  <a:pt x="45719" y="25907"/>
                </a:moveTo>
                <a:lnTo>
                  <a:pt x="45719" y="12191"/>
                </a:lnTo>
                <a:lnTo>
                  <a:pt x="40131" y="17779"/>
                </a:lnTo>
                <a:lnTo>
                  <a:pt x="42671" y="19811"/>
                </a:lnTo>
                <a:lnTo>
                  <a:pt x="42671" y="25907"/>
                </a:lnTo>
                <a:lnTo>
                  <a:pt x="45719" y="2590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51" name="object 2751"/>
          <p:cNvSpPr/>
          <p:nvPr/>
        </p:nvSpPr>
        <p:spPr>
          <a:xfrm>
            <a:off x="7863023" y="4618755"/>
            <a:ext cx="27268" cy="21966"/>
          </a:xfrm>
          <a:custGeom>
            <a:avLst/>
            <a:gdLst/>
            <a:ahLst/>
            <a:cxnLst/>
            <a:rect l="l" t="t" r="r" b="b"/>
            <a:pathLst>
              <a:path w="22859" h="18414">
                <a:moveTo>
                  <a:pt x="18287" y="9143"/>
                </a:moveTo>
                <a:lnTo>
                  <a:pt x="18287" y="6095"/>
                </a:lnTo>
                <a:lnTo>
                  <a:pt x="0" y="0"/>
                </a:lnTo>
                <a:lnTo>
                  <a:pt x="12191" y="15239"/>
                </a:lnTo>
                <a:lnTo>
                  <a:pt x="12191" y="16763"/>
                </a:lnTo>
                <a:lnTo>
                  <a:pt x="13715" y="16763"/>
                </a:lnTo>
                <a:lnTo>
                  <a:pt x="13715" y="10667"/>
                </a:lnTo>
                <a:lnTo>
                  <a:pt x="15239" y="10667"/>
                </a:lnTo>
                <a:lnTo>
                  <a:pt x="15239" y="9143"/>
                </a:lnTo>
                <a:lnTo>
                  <a:pt x="18287" y="9143"/>
                </a:lnTo>
                <a:close/>
              </a:path>
              <a:path w="22859" h="18414">
                <a:moveTo>
                  <a:pt x="19811" y="18287"/>
                </a:moveTo>
                <a:lnTo>
                  <a:pt x="19811" y="13715"/>
                </a:lnTo>
                <a:lnTo>
                  <a:pt x="18287" y="15239"/>
                </a:lnTo>
                <a:lnTo>
                  <a:pt x="15239" y="15239"/>
                </a:lnTo>
                <a:lnTo>
                  <a:pt x="13715" y="13715"/>
                </a:lnTo>
                <a:lnTo>
                  <a:pt x="13715" y="16763"/>
                </a:lnTo>
                <a:lnTo>
                  <a:pt x="15239" y="18287"/>
                </a:lnTo>
                <a:lnTo>
                  <a:pt x="19811" y="18287"/>
                </a:lnTo>
                <a:close/>
              </a:path>
              <a:path w="22859" h="18414">
                <a:moveTo>
                  <a:pt x="22859" y="13715"/>
                </a:moveTo>
                <a:lnTo>
                  <a:pt x="22859" y="9143"/>
                </a:lnTo>
                <a:lnTo>
                  <a:pt x="19811" y="7619"/>
                </a:lnTo>
                <a:lnTo>
                  <a:pt x="18287" y="7619"/>
                </a:lnTo>
                <a:lnTo>
                  <a:pt x="18287" y="10667"/>
                </a:lnTo>
                <a:lnTo>
                  <a:pt x="19811" y="10667"/>
                </a:lnTo>
                <a:lnTo>
                  <a:pt x="19811" y="18287"/>
                </a:lnTo>
                <a:lnTo>
                  <a:pt x="21335" y="15239"/>
                </a:lnTo>
                <a:lnTo>
                  <a:pt x="22859" y="137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52" name="object 2752"/>
          <p:cNvSpPr/>
          <p:nvPr/>
        </p:nvSpPr>
        <p:spPr>
          <a:xfrm>
            <a:off x="7495814" y="4511500"/>
            <a:ext cx="283587" cy="283587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53" name="object 2753"/>
          <p:cNvSpPr/>
          <p:nvPr/>
        </p:nvSpPr>
        <p:spPr>
          <a:xfrm>
            <a:off x="7571681" y="4599213"/>
            <a:ext cx="72714" cy="61353"/>
          </a:xfrm>
          <a:custGeom>
            <a:avLst/>
            <a:gdLst/>
            <a:ahLst/>
            <a:cxnLst/>
            <a:rect l="l" t="t" r="r" b="b"/>
            <a:pathLst>
              <a:path w="60959" h="51435">
                <a:moveTo>
                  <a:pt x="60912" y="23455"/>
                </a:moveTo>
                <a:lnTo>
                  <a:pt x="60031" y="15430"/>
                </a:lnTo>
                <a:lnTo>
                  <a:pt x="54863" y="8262"/>
                </a:lnTo>
                <a:lnTo>
                  <a:pt x="46124" y="2666"/>
                </a:lnTo>
                <a:lnTo>
                  <a:pt x="34313" y="0"/>
                </a:lnTo>
                <a:lnTo>
                  <a:pt x="22502" y="761"/>
                </a:lnTo>
                <a:lnTo>
                  <a:pt x="11834" y="4381"/>
                </a:lnTo>
                <a:lnTo>
                  <a:pt x="3452" y="10286"/>
                </a:lnTo>
                <a:lnTo>
                  <a:pt x="0" y="18454"/>
                </a:lnTo>
                <a:lnTo>
                  <a:pt x="976" y="26479"/>
                </a:lnTo>
                <a:lnTo>
                  <a:pt x="6238" y="33647"/>
                </a:lnTo>
                <a:lnTo>
                  <a:pt x="15644" y="39242"/>
                </a:lnTo>
                <a:lnTo>
                  <a:pt x="15644" y="51434"/>
                </a:lnTo>
                <a:lnTo>
                  <a:pt x="26312" y="40766"/>
                </a:lnTo>
                <a:lnTo>
                  <a:pt x="35361" y="40838"/>
                </a:lnTo>
                <a:lnTo>
                  <a:pt x="43838" y="39052"/>
                </a:lnTo>
                <a:lnTo>
                  <a:pt x="51173" y="35837"/>
                </a:lnTo>
                <a:lnTo>
                  <a:pt x="56792" y="31622"/>
                </a:lnTo>
                <a:lnTo>
                  <a:pt x="60912" y="234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2754" name="object 2754"/>
          <p:cNvSpPr txBox="1"/>
          <p:nvPr/>
        </p:nvSpPr>
        <p:spPr>
          <a:xfrm>
            <a:off x="7756979" y="3983708"/>
            <a:ext cx="416597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b="1" spc="9" dirty="0">
                <a:solidFill>
                  <a:schemeClr val="accent4"/>
                </a:solidFill>
                <a:latin typeface="+mn-lt"/>
                <a:cs typeface="Arial"/>
              </a:rPr>
              <a:t>DOS</a:t>
            </a:r>
            <a:endParaRPr sz="995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755" name="object 2755"/>
          <p:cNvSpPr txBox="1"/>
          <p:nvPr/>
        </p:nvSpPr>
        <p:spPr>
          <a:xfrm>
            <a:off x="8720454" y="883138"/>
            <a:ext cx="2494278" cy="1653223"/>
          </a:xfrm>
          <a:prstGeom prst="rect">
            <a:avLst/>
          </a:prstGeom>
        </p:spPr>
        <p:txBody>
          <a:bodyPr vert="horz" wrap="square" lIns="0" tIns="52717" rIns="0" bIns="0" rtlCol="0">
            <a:spAutoFit/>
          </a:bodyPr>
          <a:lstStyle/>
          <a:p>
            <a:pPr marL="444810" algn="ctr">
              <a:spcBef>
                <a:spcPts val="415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Market</a:t>
            </a:r>
            <a:r>
              <a:rPr sz="1297" b="1" spc="-48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research</a:t>
            </a:r>
            <a:endParaRPr sz="1297" dirty="0">
              <a:solidFill>
                <a:schemeClr val="accent4"/>
              </a:solidFill>
              <a:latin typeface="+mn-lt"/>
              <a:cs typeface="Arial"/>
            </a:endParaRPr>
          </a:p>
          <a:p>
            <a:pPr marL="32949" marR="4942" indent="-22514">
              <a:lnSpc>
                <a:spcPct val="102600"/>
              </a:lnSpc>
              <a:spcBef>
                <a:spcPts val="238"/>
              </a:spcBef>
            </a:pPr>
            <a:r>
              <a:rPr sz="995" b="1" spc="4" dirty="0">
                <a:solidFill>
                  <a:schemeClr val="accent4"/>
                </a:solidFill>
                <a:latin typeface="+mn-lt"/>
                <a:cs typeface="Arial"/>
              </a:rPr>
              <a:t>OSI (Omnichannel strategy</a:t>
            </a:r>
            <a:r>
              <a:rPr sz="995" b="1" spc="-65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995" b="1" spc="9" dirty="0">
                <a:solidFill>
                  <a:schemeClr val="accent4"/>
                </a:solidFill>
                <a:latin typeface="+mn-lt"/>
                <a:cs typeface="Arial"/>
              </a:rPr>
              <a:t>&amp;  </a:t>
            </a:r>
            <a:r>
              <a:rPr sz="995" b="1" spc="4" dirty="0">
                <a:solidFill>
                  <a:schemeClr val="accent4"/>
                </a:solidFill>
                <a:latin typeface="+mn-lt"/>
                <a:cs typeface="Arial"/>
              </a:rPr>
              <a:t>insights) buyer research</a:t>
            </a:r>
            <a:r>
              <a:rPr sz="995" b="1" spc="-91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with</a:t>
            </a:r>
            <a:endParaRPr sz="995" dirty="0">
              <a:latin typeface="+mn-lt"/>
              <a:cs typeface="Arial"/>
            </a:endParaRPr>
          </a:p>
          <a:p>
            <a:pPr marL="415705" algn="ctr">
              <a:lnSpc>
                <a:spcPts val="2430"/>
              </a:lnSpc>
            </a:pPr>
            <a:r>
              <a:rPr sz="2032" spc="-4" dirty="0">
                <a:solidFill>
                  <a:schemeClr val="accent3"/>
                </a:solidFill>
                <a:latin typeface="+mn-lt"/>
                <a:cs typeface="Arial"/>
              </a:rPr>
              <a:t>~800</a:t>
            </a:r>
            <a:r>
              <a:rPr sz="2032" spc="-22" dirty="0">
                <a:solidFill>
                  <a:schemeClr val="accent3"/>
                </a:solidFill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respondents</a:t>
            </a:r>
            <a:endParaRPr sz="995" dirty="0">
              <a:latin typeface="+mn-lt"/>
              <a:cs typeface="Arial"/>
            </a:endParaRPr>
          </a:p>
          <a:p>
            <a:pPr marL="527182" marR="4393" indent="534870">
              <a:lnSpc>
                <a:spcPct val="102600"/>
              </a:lnSpc>
              <a:spcBef>
                <a:spcPts val="1020"/>
              </a:spcBef>
            </a:pPr>
            <a:r>
              <a:rPr sz="995" b="1" spc="9" dirty="0">
                <a:solidFill>
                  <a:schemeClr val="accent4"/>
                </a:solidFill>
                <a:latin typeface="+mn-lt"/>
                <a:cs typeface="Arial"/>
              </a:rPr>
              <a:t>DoS</a:t>
            </a:r>
            <a:r>
              <a:rPr sz="995" b="1" spc="-30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995" b="1" dirty="0">
                <a:solidFill>
                  <a:schemeClr val="accent4"/>
                </a:solidFill>
                <a:latin typeface="+mn-lt"/>
                <a:cs typeface="Arial"/>
              </a:rPr>
              <a:t>(Digital  </a:t>
            </a:r>
            <a:r>
              <a:rPr sz="995" b="1" spc="4" dirty="0">
                <a:solidFill>
                  <a:schemeClr val="accent4"/>
                </a:solidFill>
                <a:latin typeface="+mn-lt"/>
                <a:cs typeface="Arial"/>
              </a:rPr>
              <a:t>Opportunity Scan)</a:t>
            </a:r>
            <a:r>
              <a:rPr sz="995" b="1" spc="-78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of</a:t>
            </a:r>
            <a:endParaRPr sz="995" dirty="0">
              <a:latin typeface="+mn-lt"/>
              <a:cs typeface="Arial"/>
            </a:endParaRPr>
          </a:p>
          <a:p>
            <a:pPr marL="908291">
              <a:lnSpc>
                <a:spcPts val="2417"/>
              </a:lnSpc>
            </a:pPr>
            <a:r>
              <a:rPr sz="2032" dirty="0">
                <a:solidFill>
                  <a:schemeClr val="accent3"/>
                </a:solidFill>
                <a:latin typeface="+mn-lt"/>
                <a:cs typeface="Georgia"/>
              </a:rPr>
              <a:t>8</a:t>
            </a:r>
            <a:r>
              <a:rPr sz="2032" spc="-52" dirty="0">
                <a:solidFill>
                  <a:schemeClr val="accent3"/>
                </a:solidFill>
                <a:latin typeface="+mn-lt"/>
                <a:cs typeface="Georgia"/>
              </a:rPr>
              <a:t> </a:t>
            </a:r>
            <a:r>
              <a:rPr sz="995" spc="4" dirty="0">
                <a:latin typeface="+mn-lt"/>
                <a:cs typeface="Arial"/>
              </a:rPr>
              <a:t>competitors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756" name="object 2756"/>
          <p:cNvSpPr txBox="1"/>
          <p:nvPr/>
        </p:nvSpPr>
        <p:spPr>
          <a:xfrm>
            <a:off x="8518669" y="3885543"/>
            <a:ext cx="2695003" cy="320101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b="1" spc="-13" dirty="0">
                <a:solidFill>
                  <a:schemeClr val="accent4"/>
                </a:solidFill>
                <a:latin typeface="+mn-lt"/>
                <a:cs typeface="Arial"/>
              </a:rPr>
              <a:t>CCAT </a:t>
            </a:r>
            <a:r>
              <a:rPr sz="995" b="1" spc="4" dirty="0">
                <a:solidFill>
                  <a:schemeClr val="accent4"/>
                </a:solidFill>
                <a:latin typeface="+mn-lt"/>
                <a:cs typeface="Arial"/>
              </a:rPr>
              <a:t>(Commercial Capabilities</a:t>
            </a:r>
            <a:endParaRPr sz="995" dirty="0">
              <a:solidFill>
                <a:schemeClr val="accent4"/>
              </a:solidFill>
              <a:latin typeface="+mn-lt"/>
              <a:cs typeface="Arial"/>
            </a:endParaRPr>
          </a:p>
          <a:p>
            <a:pPr marL="872596">
              <a:spcBef>
                <a:spcPts val="30"/>
              </a:spcBef>
            </a:pPr>
            <a:r>
              <a:rPr sz="995" b="1" dirty="0">
                <a:solidFill>
                  <a:schemeClr val="accent4"/>
                </a:solidFill>
                <a:latin typeface="+mn-lt"/>
                <a:cs typeface="Arial"/>
              </a:rPr>
              <a:t>Assessment)</a:t>
            </a:r>
            <a:r>
              <a:rPr sz="995" b="1" spc="-13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with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757" name="object 2757"/>
          <p:cNvSpPr txBox="1"/>
          <p:nvPr/>
        </p:nvSpPr>
        <p:spPr>
          <a:xfrm>
            <a:off x="9380343" y="4309108"/>
            <a:ext cx="1833783" cy="323805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L="10983">
              <a:spcBef>
                <a:spcPts val="86"/>
              </a:spcBef>
            </a:pPr>
            <a:r>
              <a:rPr sz="2032" spc="-4" dirty="0">
                <a:solidFill>
                  <a:schemeClr val="accent3"/>
                </a:solidFill>
                <a:latin typeface="+mn-lt"/>
                <a:cs typeface="Georgia"/>
              </a:rPr>
              <a:t>500+</a:t>
            </a:r>
            <a:r>
              <a:rPr sz="2032" spc="-52" dirty="0">
                <a:solidFill>
                  <a:srgbClr val="1E3FE6"/>
                </a:solidFill>
                <a:latin typeface="+mn-lt"/>
                <a:cs typeface="Georgia"/>
              </a:rPr>
              <a:t> </a:t>
            </a:r>
            <a:r>
              <a:rPr sz="995" spc="4" dirty="0">
                <a:latin typeface="+mn-lt"/>
                <a:cs typeface="Arial"/>
              </a:rPr>
              <a:t>employees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758" name="object 2758"/>
          <p:cNvSpPr txBox="1"/>
          <p:nvPr/>
        </p:nvSpPr>
        <p:spPr>
          <a:xfrm>
            <a:off x="593021" y="4389095"/>
            <a:ext cx="1805000" cy="1055287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L="10983" marR="412409">
              <a:lnSpc>
                <a:spcPct val="100699"/>
              </a:lnSpc>
              <a:spcBef>
                <a:spcPts val="86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Th</a:t>
            </a:r>
            <a:r>
              <a:rPr sz="1297" b="1" spc="-4" dirty="0">
                <a:solidFill>
                  <a:schemeClr val="accent4"/>
                </a:solidFill>
                <a:latin typeface="+mn-lt"/>
                <a:cs typeface="Arial"/>
              </a:rPr>
              <a:t>ir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d-pa</a:t>
            </a:r>
            <a:r>
              <a:rPr sz="1297" b="1" spc="-4" dirty="0">
                <a:solidFill>
                  <a:schemeClr val="accent4"/>
                </a:solidFill>
                <a:latin typeface="+mn-lt"/>
                <a:cs typeface="Arial"/>
              </a:rPr>
              <a:t>r</a:t>
            </a:r>
            <a:r>
              <a:rPr sz="1297" b="1" spc="4" dirty="0">
                <a:solidFill>
                  <a:schemeClr val="accent4"/>
                </a:solidFill>
                <a:latin typeface="+mn-lt"/>
                <a:cs typeface="Arial"/>
              </a:rPr>
              <a:t>t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y  research</a:t>
            </a:r>
            <a:endParaRPr sz="1297" dirty="0">
              <a:solidFill>
                <a:schemeClr val="accent4"/>
              </a:solidFill>
              <a:latin typeface="+mn-lt"/>
              <a:cs typeface="Arial"/>
            </a:endParaRPr>
          </a:p>
          <a:p>
            <a:pPr marL="10983">
              <a:spcBef>
                <a:spcPts val="82"/>
              </a:spcBef>
            </a:pPr>
            <a:r>
              <a:rPr sz="2032" spc="-4" dirty="0">
                <a:solidFill>
                  <a:schemeClr val="accent3"/>
                </a:solidFill>
                <a:latin typeface="+mn-lt"/>
                <a:cs typeface="Georgia"/>
              </a:rPr>
              <a:t>~10</a:t>
            </a:r>
            <a:endParaRPr sz="2032" dirty="0">
              <a:solidFill>
                <a:schemeClr val="accent3"/>
              </a:solidFill>
              <a:latin typeface="+mn-lt"/>
              <a:cs typeface="Georgia"/>
            </a:endParaRPr>
          </a:p>
          <a:p>
            <a:pPr marL="10983" marR="4393">
              <a:lnSpc>
                <a:spcPct val="102600"/>
              </a:lnSpc>
              <a:spcBef>
                <a:spcPts val="26"/>
              </a:spcBef>
            </a:pPr>
            <a:r>
              <a:rPr sz="995" spc="4" dirty="0">
                <a:latin typeface="+mn-lt"/>
                <a:cs typeface="Arial"/>
              </a:rPr>
              <a:t>Industry research  reports and</a:t>
            </a:r>
            <a:r>
              <a:rPr sz="995" spc="-61" dirty="0"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databases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759" name="object 2759"/>
          <p:cNvSpPr txBox="1"/>
          <p:nvPr/>
        </p:nvSpPr>
        <p:spPr>
          <a:xfrm>
            <a:off x="8462306" y="5283489"/>
            <a:ext cx="2754083" cy="641471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algn="ctr">
              <a:lnSpc>
                <a:spcPts val="1185"/>
              </a:lnSpc>
              <a:spcBef>
                <a:spcPts val="108"/>
              </a:spcBef>
            </a:pPr>
            <a:r>
              <a:rPr sz="995" b="1" spc="4" dirty="0">
                <a:solidFill>
                  <a:schemeClr val="accent4"/>
                </a:solidFill>
                <a:latin typeface="+mn-lt"/>
                <a:cs typeface="Arial"/>
              </a:rPr>
              <a:t>Sales Navigator </a:t>
            </a:r>
            <a:r>
              <a:rPr sz="995" spc="4" dirty="0">
                <a:latin typeface="+mn-lt"/>
                <a:cs typeface="Arial"/>
              </a:rPr>
              <a:t>Benchmarking</a:t>
            </a:r>
            <a:r>
              <a:rPr sz="995" spc="-56" dirty="0"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of</a:t>
            </a:r>
            <a:endParaRPr sz="995" dirty="0">
              <a:latin typeface="+mn-lt"/>
              <a:cs typeface="Arial"/>
            </a:endParaRPr>
          </a:p>
          <a:p>
            <a:pPr marL="97748" algn="ctr">
              <a:lnSpc>
                <a:spcPts val="2430"/>
              </a:lnSpc>
            </a:pPr>
            <a:r>
              <a:rPr sz="2032" spc="-4" dirty="0">
                <a:solidFill>
                  <a:schemeClr val="accent3"/>
                </a:solidFill>
                <a:latin typeface="+mn-lt"/>
                <a:cs typeface="Georgia"/>
              </a:rPr>
              <a:t>40+</a:t>
            </a:r>
            <a:r>
              <a:rPr sz="2032" spc="-4" dirty="0">
                <a:solidFill>
                  <a:srgbClr val="1E3FE6"/>
                </a:solidFill>
                <a:latin typeface="+mn-lt"/>
                <a:cs typeface="Georgia"/>
              </a:rPr>
              <a:t> </a:t>
            </a:r>
            <a:r>
              <a:rPr sz="995" spc="4" dirty="0">
                <a:latin typeface="+mn-lt"/>
                <a:cs typeface="Arial"/>
              </a:rPr>
              <a:t>sales </a:t>
            </a:r>
            <a:r>
              <a:rPr sz="995" dirty="0">
                <a:latin typeface="+mn-lt"/>
                <a:cs typeface="Arial"/>
              </a:rPr>
              <a:t>effectiveness</a:t>
            </a:r>
            <a:r>
              <a:rPr sz="995" spc="-9" dirty="0"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and</a:t>
            </a:r>
            <a:endParaRPr sz="995" dirty="0">
              <a:latin typeface="+mn-lt"/>
              <a:cs typeface="Arial"/>
            </a:endParaRPr>
          </a:p>
          <a:p>
            <a:pPr marL="878088">
              <a:spcBef>
                <a:spcPts val="61"/>
              </a:spcBef>
            </a:pPr>
            <a:r>
              <a:rPr sz="995" spc="4" dirty="0">
                <a:latin typeface="+mn-lt"/>
                <a:cs typeface="Arial"/>
              </a:rPr>
              <a:t>productivity</a:t>
            </a:r>
            <a:r>
              <a:rPr sz="995" spc="-78" dirty="0"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metrics</a:t>
            </a:r>
            <a:endParaRPr sz="995" dirty="0">
              <a:latin typeface="+mn-lt"/>
              <a:cs typeface="Arial"/>
            </a:endParaRPr>
          </a:p>
        </p:txBody>
      </p:sp>
      <p:sp>
        <p:nvSpPr>
          <p:cNvPr id="2760" name="object 2760"/>
          <p:cNvSpPr txBox="1"/>
          <p:nvPr/>
        </p:nvSpPr>
        <p:spPr>
          <a:xfrm>
            <a:off x="593020" y="1436863"/>
            <a:ext cx="1630030" cy="1130756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L="10983">
              <a:spcBef>
                <a:spcPts val="86"/>
              </a:spcBef>
            </a:pPr>
            <a:r>
              <a:rPr sz="2032" spc="-4" dirty="0">
                <a:solidFill>
                  <a:schemeClr val="accent3"/>
                </a:solidFill>
                <a:latin typeface="+mn-lt"/>
                <a:cs typeface="Georgia"/>
              </a:rPr>
              <a:t>~240,000</a:t>
            </a:r>
            <a:endParaRPr sz="2032" dirty="0">
              <a:solidFill>
                <a:schemeClr val="accent3"/>
              </a:solidFill>
              <a:latin typeface="+mn-lt"/>
              <a:cs typeface="Georgia"/>
            </a:endParaRPr>
          </a:p>
          <a:p>
            <a:pPr marL="10983">
              <a:spcBef>
                <a:spcPts val="61"/>
              </a:spcBef>
            </a:pPr>
            <a:r>
              <a:rPr sz="995" spc="4" dirty="0">
                <a:latin typeface="+mn-lt"/>
                <a:cs typeface="Arial"/>
              </a:rPr>
              <a:t>leads</a:t>
            </a:r>
            <a:r>
              <a:rPr sz="995" spc="-48" dirty="0">
                <a:latin typeface="+mn-lt"/>
                <a:cs typeface="Arial"/>
              </a:rPr>
              <a:t> </a:t>
            </a:r>
            <a:r>
              <a:rPr sz="995" dirty="0">
                <a:latin typeface="+mn-lt"/>
                <a:cs typeface="Arial"/>
              </a:rPr>
              <a:t>analyzed</a:t>
            </a:r>
          </a:p>
          <a:p>
            <a:pPr marL="10983">
              <a:spcBef>
                <a:spcPts val="134"/>
              </a:spcBef>
            </a:pPr>
            <a:r>
              <a:rPr sz="2032" spc="-4" dirty="0">
                <a:solidFill>
                  <a:schemeClr val="accent3"/>
                </a:solidFill>
                <a:latin typeface="+mn-lt"/>
                <a:cs typeface="Georgia"/>
              </a:rPr>
              <a:t>~33,000</a:t>
            </a:r>
            <a:endParaRPr sz="2032" dirty="0">
              <a:solidFill>
                <a:schemeClr val="accent3"/>
              </a:solidFill>
              <a:latin typeface="+mn-lt"/>
              <a:cs typeface="Georgia"/>
            </a:endParaRPr>
          </a:p>
          <a:p>
            <a:pPr marL="10983" marR="84020">
              <a:lnSpc>
                <a:spcPct val="102600"/>
              </a:lnSpc>
              <a:spcBef>
                <a:spcPts val="30"/>
              </a:spcBef>
            </a:pPr>
            <a:r>
              <a:rPr sz="995" spc="4" dirty="0">
                <a:latin typeface="+mn-lt"/>
                <a:cs typeface="Arial"/>
              </a:rPr>
              <a:t>sales </a:t>
            </a:r>
            <a:r>
              <a:rPr sz="995" dirty="0">
                <a:latin typeface="+mn-lt"/>
                <a:cs typeface="Arial"/>
              </a:rPr>
              <a:t>opportunities  analyzed totaling</a:t>
            </a:r>
          </a:p>
        </p:txBody>
      </p:sp>
      <p:sp>
        <p:nvSpPr>
          <p:cNvPr id="2761" name="object 2761"/>
          <p:cNvSpPr txBox="1"/>
          <p:nvPr/>
        </p:nvSpPr>
        <p:spPr>
          <a:xfrm>
            <a:off x="593021" y="3025687"/>
            <a:ext cx="1122538" cy="323805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L="10983">
              <a:spcBef>
                <a:spcPts val="86"/>
              </a:spcBef>
            </a:pPr>
            <a:r>
              <a:rPr sz="2032" dirty="0">
                <a:solidFill>
                  <a:schemeClr val="accent3"/>
                </a:solidFill>
                <a:latin typeface="+mn-lt"/>
                <a:cs typeface="Georgia"/>
              </a:rPr>
              <a:t>$6</a:t>
            </a:r>
            <a:r>
              <a:rPr sz="2032" spc="-4" dirty="0">
                <a:solidFill>
                  <a:schemeClr val="accent3"/>
                </a:solidFill>
                <a:latin typeface="+mn-lt"/>
                <a:cs typeface="Georgia"/>
              </a:rPr>
              <a:t>00</a:t>
            </a:r>
            <a:r>
              <a:rPr sz="1427" spc="22" dirty="0">
                <a:solidFill>
                  <a:schemeClr val="accent3"/>
                </a:solidFill>
                <a:latin typeface="+mn-lt"/>
                <a:cs typeface="Georgia"/>
              </a:rPr>
              <a:t>M</a:t>
            </a:r>
            <a:endParaRPr sz="1427" dirty="0">
              <a:solidFill>
                <a:schemeClr val="accent3"/>
              </a:solidFill>
              <a:latin typeface="+mn-lt"/>
              <a:cs typeface="Georgia"/>
            </a:endParaRPr>
          </a:p>
        </p:txBody>
      </p:sp>
      <p:sp>
        <p:nvSpPr>
          <p:cNvPr id="2762" name="object 2762"/>
          <p:cNvSpPr txBox="1"/>
          <p:nvPr/>
        </p:nvSpPr>
        <p:spPr>
          <a:xfrm>
            <a:off x="593021" y="3460160"/>
            <a:ext cx="1409612" cy="166982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995" dirty="0">
                <a:latin typeface="+mn-lt"/>
                <a:cs typeface="Arial"/>
              </a:rPr>
              <a:t>in </a:t>
            </a:r>
            <a:r>
              <a:rPr sz="995" spc="4" dirty="0">
                <a:latin typeface="+mn-lt"/>
                <a:cs typeface="Arial"/>
              </a:rPr>
              <a:t>bookings</a:t>
            </a:r>
            <a:r>
              <a:rPr sz="995" spc="-48" dirty="0">
                <a:latin typeface="+mn-lt"/>
                <a:cs typeface="Arial"/>
              </a:rPr>
              <a:t> </a:t>
            </a:r>
            <a:r>
              <a:rPr sz="995" spc="4" dirty="0">
                <a:latin typeface="+mn-lt"/>
                <a:cs typeface="Arial"/>
              </a:rPr>
              <a:t>value</a:t>
            </a:r>
            <a:endParaRPr sz="995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2370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22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6"/>
          <p:cNvSpPr txBox="1">
            <a:spLocks noGrp="1"/>
          </p:cNvSpPr>
          <p:nvPr>
            <p:ph type="title"/>
          </p:nvPr>
        </p:nvSpPr>
        <p:spPr bwMode="gray">
          <a:xfrm>
            <a:off x="158759" y="230189"/>
            <a:ext cx="10195827" cy="75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434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4393">
              <a:lnSpc>
                <a:spcPct val="101400"/>
              </a:lnSpc>
              <a:spcBef>
                <a:spcPts val="82"/>
              </a:spcBef>
            </a:pPr>
            <a:r>
              <a:rPr spc="4" dirty="0">
                <a:latin typeface="+mn-lt"/>
              </a:rPr>
              <a:t>OSI identified key </a:t>
            </a:r>
            <a:r>
              <a:rPr spc="9" dirty="0">
                <a:latin typeface="+mn-lt"/>
              </a:rPr>
              <a:t>buying </a:t>
            </a:r>
            <a:r>
              <a:rPr spc="4" dirty="0">
                <a:latin typeface="+mn-lt"/>
              </a:rPr>
              <a:t>factors, possible </a:t>
            </a:r>
            <a:r>
              <a:rPr spc="22" dirty="0">
                <a:latin typeface="+mn-lt"/>
              </a:rPr>
              <a:t>GTM </a:t>
            </a:r>
            <a:r>
              <a:rPr spc="9" dirty="0">
                <a:latin typeface="+mn-lt"/>
              </a:rPr>
              <a:t>models </a:t>
            </a:r>
            <a:r>
              <a:rPr spc="13" dirty="0">
                <a:latin typeface="+mn-lt"/>
              </a:rPr>
              <a:t>&amp; </a:t>
            </a:r>
            <a:r>
              <a:rPr spc="4" dirty="0">
                <a:latin typeface="+mn-lt"/>
              </a:rPr>
              <a:t>helped quantify  impact of potential </a:t>
            </a:r>
            <a:r>
              <a:rPr spc="9" dirty="0">
                <a:latin typeface="+mn-lt"/>
              </a:rPr>
              <a:t>changes </a:t>
            </a:r>
            <a:r>
              <a:rPr spc="4" dirty="0">
                <a:latin typeface="+mn-lt"/>
              </a:rPr>
              <a:t>in </a:t>
            </a:r>
            <a:r>
              <a:rPr spc="9" dirty="0">
                <a:latin typeface="+mn-lt"/>
              </a:rPr>
              <a:t>channel </a:t>
            </a:r>
            <a:r>
              <a:rPr spc="4" dirty="0">
                <a:latin typeface="+mn-lt"/>
              </a:rPr>
              <a:t>offerings for</a:t>
            </a:r>
            <a:r>
              <a:rPr spc="78" dirty="0">
                <a:latin typeface="+mn-lt"/>
              </a:rPr>
              <a:t> </a:t>
            </a:r>
            <a:r>
              <a:rPr spc="13" dirty="0">
                <a:latin typeface="+mn-lt"/>
              </a:rPr>
              <a:t>SMB</a:t>
            </a:r>
          </a:p>
        </p:txBody>
      </p:sp>
      <p:sp>
        <p:nvSpPr>
          <p:cNvPr id="3" name="object 3"/>
          <p:cNvSpPr/>
          <p:nvPr/>
        </p:nvSpPr>
        <p:spPr>
          <a:xfrm>
            <a:off x="7760592" y="4781768"/>
            <a:ext cx="1280775" cy="13080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15012" y="4781768"/>
            <a:ext cx="1212466" cy="121758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659408" y="4781768"/>
            <a:ext cx="1188558" cy="116977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sz="1384" dirty="0">
              <a:latin typeface="+mn-lt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971916" y="1381311"/>
            <a:ext cx="2387934" cy="3272379"/>
          </a:xfrm>
          <a:custGeom>
            <a:avLst/>
            <a:gdLst/>
            <a:ahLst/>
            <a:cxnLst/>
            <a:rect l="l" t="t" r="r" b="b"/>
            <a:pathLst>
              <a:path w="2131060" h="2920365">
                <a:moveTo>
                  <a:pt x="0" y="0"/>
                </a:moveTo>
                <a:lnTo>
                  <a:pt x="0" y="2919983"/>
                </a:lnTo>
                <a:lnTo>
                  <a:pt x="2130551" y="2919983"/>
                </a:lnTo>
                <a:lnTo>
                  <a:pt x="2130551" y="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659836" y="1381311"/>
            <a:ext cx="3507901" cy="3272379"/>
          </a:xfrm>
          <a:custGeom>
            <a:avLst/>
            <a:gdLst/>
            <a:ahLst/>
            <a:cxnLst/>
            <a:rect l="l" t="t" r="r" b="b"/>
            <a:pathLst>
              <a:path w="3130550" h="2920365">
                <a:moveTo>
                  <a:pt x="0" y="0"/>
                </a:moveTo>
                <a:lnTo>
                  <a:pt x="0" y="2919983"/>
                </a:lnTo>
                <a:lnTo>
                  <a:pt x="3130295" y="2919983"/>
                </a:lnTo>
                <a:lnTo>
                  <a:pt x="3130295" y="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67553" y="1381310"/>
            <a:ext cx="3859402" cy="1554007"/>
          </a:xfrm>
          <a:custGeom>
            <a:avLst/>
            <a:gdLst/>
            <a:ahLst/>
            <a:cxnLst/>
            <a:rect l="l" t="t" r="r" b="b"/>
            <a:pathLst>
              <a:path w="3444240" h="1386839">
                <a:moveTo>
                  <a:pt x="0" y="0"/>
                </a:moveTo>
                <a:lnTo>
                  <a:pt x="0" y="1386839"/>
                </a:lnTo>
                <a:lnTo>
                  <a:pt x="3444239" y="1386839"/>
                </a:lnTo>
                <a:lnTo>
                  <a:pt x="3444239" y="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044067" y="1444024"/>
            <a:ext cx="2758647" cy="783668"/>
          </a:xfrm>
          <a:prstGeom prst="rect">
            <a:avLst/>
          </a:prstGeom>
        </p:spPr>
        <p:txBody>
          <a:bodyPr vert="horz" wrap="square" lIns="0" tIns="32948" rIns="0" bIns="0" rtlCol="0">
            <a:spAutoFit/>
          </a:bodyPr>
          <a:lstStyle/>
          <a:p>
            <a:pPr marR="3844" algn="ctr">
              <a:spcBef>
                <a:spcPts val="259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Journey</a:t>
            </a:r>
            <a:r>
              <a:rPr sz="1297" b="1" spc="-39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insights</a:t>
            </a:r>
          </a:p>
          <a:p>
            <a:pPr marR="4942" algn="ctr">
              <a:spcBef>
                <a:spcPts val="255"/>
              </a:spcBef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Top </a:t>
            </a:r>
            <a:r>
              <a:rPr sz="2032" b="1" dirty="0">
                <a:solidFill>
                  <a:schemeClr val="accent4"/>
                </a:solidFill>
                <a:latin typeface="+mn-lt"/>
                <a:cs typeface="Georgia"/>
              </a:rPr>
              <a:t>3</a:t>
            </a:r>
            <a:r>
              <a:rPr sz="2032" b="1" spc="-30" dirty="0">
                <a:solidFill>
                  <a:schemeClr val="accent4"/>
                </a:solidFill>
                <a:latin typeface="+mn-lt"/>
                <a:cs typeface="Georgia"/>
              </a:rPr>
              <a:t> </a:t>
            </a: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steps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R="4393" algn="ctr">
              <a:spcBef>
                <a:spcPts val="35"/>
              </a:spcBef>
            </a:pPr>
            <a:r>
              <a:rPr sz="995" dirty="0">
                <a:latin typeface="+mn-lt"/>
                <a:cs typeface="Arial"/>
              </a:rPr>
              <a:t>to </a:t>
            </a:r>
            <a:r>
              <a:rPr sz="995" spc="4" dirty="0">
                <a:latin typeface="+mn-lt"/>
                <a:cs typeface="Arial"/>
              </a:rPr>
              <a:t>look for a </a:t>
            </a:r>
            <a:r>
              <a:rPr sz="995" spc="9" dirty="0">
                <a:latin typeface="+mn-lt"/>
                <a:cs typeface="Arial"/>
              </a:rPr>
              <a:t>new </a:t>
            </a:r>
            <a:r>
              <a:rPr sz="995" spc="4" dirty="0">
                <a:latin typeface="+mn-lt"/>
                <a:cs typeface="Arial"/>
              </a:rPr>
              <a:t>solution are</a:t>
            </a:r>
            <a:r>
              <a:rPr sz="995" spc="-112" dirty="0">
                <a:latin typeface="+mn-lt"/>
                <a:cs typeface="Arial"/>
              </a:rPr>
              <a:t> </a:t>
            </a:r>
            <a:r>
              <a:rPr sz="1297" dirty="0">
                <a:latin typeface="+mn-lt"/>
                <a:cs typeface="Arial"/>
              </a:rPr>
              <a:t>digital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7883543" y="3055994"/>
            <a:ext cx="446137" cy="279456"/>
          </a:xfrm>
          <a:prstGeom prst="rect">
            <a:avLst/>
          </a:prstGeom>
        </p:spPr>
        <p:txBody>
          <a:bodyPr vert="horz" wrap="square" lIns="0" tIns="10434" rIns="0" bIns="0" rtlCol="0">
            <a:spAutoFit/>
          </a:bodyPr>
          <a:lstStyle/>
          <a:p>
            <a:pPr marR="4393" indent="6590">
              <a:lnSpc>
                <a:spcPct val="101000"/>
              </a:lnSpc>
              <a:spcBef>
                <a:spcPts val="82"/>
              </a:spcBef>
            </a:pPr>
            <a:r>
              <a:rPr sz="865" dirty="0">
                <a:latin typeface="+mn-lt"/>
                <a:cs typeface="Arial"/>
              </a:rPr>
              <a:t>Online  search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9044778" y="3047455"/>
            <a:ext cx="574925" cy="279456"/>
          </a:xfrm>
          <a:prstGeom prst="rect">
            <a:avLst/>
          </a:prstGeom>
        </p:spPr>
        <p:txBody>
          <a:bodyPr vert="horz" wrap="square" lIns="0" tIns="10434" rIns="0" bIns="0" rtlCol="0">
            <a:spAutoFit/>
          </a:bodyPr>
          <a:lstStyle/>
          <a:p>
            <a:pPr marR="4393" indent="32949">
              <a:lnSpc>
                <a:spcPct val="101000"/>
              </a:lnSpc>
              <a:spcBef>
                <a:spcPts val="82"/>
              </a:spcBef>
            </a:pPr>
            <a:r>
              <a:rPr sz="865" dirty="0">
                <a:latin typeface="+mn-lt"/>
                <a:cs typeface="Arial"/>
              </a:rPr>
              <a:t>Review  websi</a:t>
            </a:r>
            <a:r>
              <a:rPr sz="865" spc="-4" dirty="0">
                <a:latin typeface="+mn-lt"/>
                <a:cs typeface="Arial"/>
              </a:rPr>
              <a:t>t</a:t>
            </a:r>
            <a:r>
              <a:rPr sz="865" dirty="0">
                <a:latin typeface="+mn-lt"/>
                <a:cs typeface="Arial"/>
              </a:rPr>
              <a:t>es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10098429" y="3074778"/>
            <a:ext cx="917178" cy="279456"/>
          </a:xfrm>
          <a:prstGeom prst="rect">
            <a:avLst/>
          </a:prstGeom>
        </p:spPr>
        <p:txBody>
          <a:bodyPr vert="horz" wrap="square" lIns="0" tIns="10434" rIns="0" bIns="0" rtlCol="0">
            <a:spAutoFit/>
          </a:bodyPr>
          <a:lstStyle/>
          <a:p>
            <a:pPr marL="223503" marR="4393" indent="-224052">
              <a:lnSpc>
                <a:spcPct val="101000"/>
              </a:lnSpc>
              <a:spcBef>
                <a:spcPts val="82"/>
              </a:spcBef>
            </a:pPr>
            <a:r>
              <a:rPr sz="865" dirty="0">
                <a:latin typeface="+mn-lt"/>
                <a:cs typeface="Arial"/>
              </a:rPr>
              <a:t>Direct</a:t>
            </a:r>
            <a:r>
              <a:rPr sz="865" spc="-52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website  visits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7938189" y="3640026"/>
            <a:ext cx="2858974" cy="509560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R="4393" algn="ctr">
              <a:spcBef>
                <a:spcPts val="86"/>
              </a:spcBef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Biggest pain point?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L="27457" marR="4393" indent="-28006" algn="ctr">
              <a:lnSpc>
                <a:spcPct val="101000"/>
              </a:lnSpc>
              <a:spcBef>
                <a:spcPts val="389"/>
              </a:spcBef>
            </a:pPr>
            <a:r>
              <a:rPr sz="865" dirty="0">
                <a:latin typeface="+mn-lt"/>
                <a:cs typeface="Arial"/>
              </a:rPr>
              <a:t>“Too many steps to get a quote”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4971916" y="1471248"/>
            <a:ext cx="2387934" cy="2374641"/>
          </a:xfrm>
          <a:prstGeom prst="rect">
            <a:avLst/>
          </a:prstGeom>
        </p:spPr>
        <p:txBody>
          <a:bodyPr vert="horz" wrap="square" lIns="0" tIns="12081" rIns="0" bIns="0" rtlCol="0">
            <a:spAutoFit/>
          </a:bodyPr>
          <a:lstStyle/>
          <a:p>
            <a:pPr marR="97199" algn="ctr">
              <a:spcBef>
                <a:spcPts val="95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Shopper</a:t>
            </a:r>
            <a:r>
              <a:rPr sz="1297" b="1" spc="-48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profile</a:t>
            </a:r>
          </a:p>
          <a:p>
            <a:pPr marR="94453" algn="ctr">
              <a:spcBef>
                <a:spcPts val="9"/>
              </a:spcBef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36%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R="96101" algn="ctr">
              <a:spcBef>
                <a:spcPts val="43"/>
              </a:spcBef>
            </a:pPr>
            <a:r>
              <a:rPr sz="865" dirty="0">
                <a:latin typeface="+mn-lt"/>
                <a:cs typeface="Arial"/>
              </a:rPr>
              <a:t>are “best fit” with </a:t>
            </a:r>
            <a:r>
              <a:rPr lang="en-US" sz="865" dirty="0">
                <a:latin typeface="+mn-lt"/>
                <a:cs typeface="Arial"/>
              </a:rPr>
              <a:t>Client</a:t>
            </a:r>
            <a:r>
              <a:rPr sz="865" spc="-39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offering</a:t>
            </a:r>
          </a:p>
          <a:p>
            <a:pPr>
              <a:spcBef>
                <a:spcPts val="30"/>
              </a:spcBef>
            </a:pPr>
            <a:endParaRPr sz="822" dirty="0">
              <a:latin typeface="+mn-lt"/>
              <a:cs typeface="Times New Roman"/>
            </a:endParaRPr>
          </a:p>
          <a:p>
            <a:pPr marR="95551" algn="ctr">
              <a:spcBef>
                <a:spcPts val="4"/>
              </a:spcBef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~50%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R="96101" algn="ctr">
              <a:spcBef>
                <a:spcPts val="48"/>
              </a:spcBef>
            </a:pPr>
            <a:r>
              <a:rPr sz="865" b="1" dirty="0">
                <a:latin typeface="+mn-lt"/>
                <a:cs typeface="Arial"/>
              </a:rPr>
              <a:t>are</a:t>
            </a:r>
            <a:r>
              <a:rPr sz="865" b="1" spc="-56" dirty="0">
                <a:latin typeface="+mn-lt"/>
                <a:cs typeface="Arial"/>
              </a:rPr>
              <a:t> </a:t>
            </a:r>
            <a:r>
              <a:rPr sz="865" b="1" dirty="0">
                <a:latin typeface="+mn-lt"/>
                <a:cs typeface="Arial"/>
              </a:rPr>
              <a:t>suite-led</a:t>
            </a:r>
          </a:p>
          <a:p>
            <a:pPr>
              <a:spcBef>
                <a:spcPts val="35"/>
              </a:spcBef>
            </a:pPr>
            <a:endParaRPr sz="822" b="1" dirty="0">
              <a:latin typeface="+mn-lt"/>
              <a:cs typeface="Times New Roman"/>
            </a:endParaRPr>
          </a:p>
          <a:p>
            <a:pPr marR="94453" algn="ctr"/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60%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R="94453" algn="ctr">
              <a:spcBef>
                <a:spcPts val="43"/>
              </a:spcBef>
            </a:pPr>
            <a:r>
              <a:rPr sz="865" dirty="0">
                <a:latin typeface="+mn-lt"/>
                <a:cs typeface="Arial"/>
              </a:rPr>
              <a:t>use 3+</a:t>
            </a:r>
            <a:r>
              <a:rPr sz="865" spc="-48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modules</a:t>
            </a:r>
          </a:p>
          <a:p>
            <a:pPr>
              <a:spcBef>
                <a:spcPts val="30"/>
              </a:spcBef>
            </a:pPr>
            <a:endParaRPr sz="822" b="1" dirty="0">
              <a:solidFill>
                <a:schemeClr val="accent4"/>
              </a:solidFill>
              <a:latin typeface="+mn-lt"/>
              <a:cs typeface="Times New Roman"/>
            </a:endParaRPr>
          </a:p>
          <a:p>
            <a:pPr marR="94453" algn="ctr">
              <a:spcBef>
                <a:spcPts val="4"/>
              </a:spcBef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~40%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R="96101" algn="ctr">
              <a:spcBef>
                <a:spcPts val="48"/>
              </a:spcBef>
            </a:pPr>
            <a:r>
              <a:rPr sz="865" dirty="0">
                <a:latin typeface="+mn-lt"/>
                <a:cs typeface="Arial"/>
              </a:rPr>
              <a:t>aware of</a:t>
            </a:r>
            <a:r>
              <a:rPr sz="865" spc="-69" dirty="0">
                <a:latin typeface="+mn-lt"/>
                <a:cs typeface="Arial"/>
              </a:rPr>
              <a:t> </a:t>
            </a:r>
            <a:r>
              <a:rPr lang="en-US" sz="865" dirty="0">
                <a:latin typeface="+mn-lt"/>
                <a:cs typeface="Arial"/>
              </a:rPr>
              <a:t>Client</a:t>
            </a:r>
            <a:endParaRPr sz="865" dirty="0">
              <a:latin typeface="+mn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67553" y="1438534"/>
            <a:ext cx="3859402" cy="1101396"/>
          </a:xfrm>
          <a:prstGeom prst="rect">
            <a:avLst/>
          </a:prstGeom>
        </p:spPr>
        <p:txBody>
          <a:bodyPr vert="horz" wrap="square" lIns="0" tIns="37342" rIns="0" bIns="0" rtlCol="0">
            <a:spAutoFit/>
          </a:bodyPr>
          <a:lstStyle/>
          <a:p>
            <a:pPr marL="952772">
              <a:spcBef>
                <a:spcPts val="294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Demographics</a:t>
            </a:r>
          </a:p>
          <a:p>
            <a:pPr algn="ctr">
              <a:lnSpc>
                <a:spcPts val="2408"/>
              </a:lnSpc>
              <a:spcBef>
                <a:spcPts val="311"/>
              </a:spcBef>
            </a:pPr>
            <a:r>
              <a:rPr sz="2032" b="1" dirty="0">
                <a:solidFill>
                  <a:schemeClr val="accent4"/>
                </a:solidFill>
                <a:latin typeface="+mn-lt"/>
                <a:cs typeface="Georgia"/>
              </a:rPr>
              <a:t>840 </a:t>
            </a:r>
            <a:r>
              <a:rPr sz="865" b="1" spc="-4" dirty="0">
                <a:solidFill>
                  <a:schemeClr val="accent4"/>
                </a:solidFill>
                <a:latin typeface="+mn-lt"/>
                <a:cs typeface="Arial"/>
              </a:rPr>
              <a:t>SMB </a:t>
            </a:r>
            <a:r>
              <a:rPr sz="865" b="1" dirty="0">
                <a:solidFill>
                  <a:schemeClr val="accent4"/>
                </a:solidFill>
                <a:latin typeface="+mn-lt"/>
                <a:cs typeface="Arial"/>
              </a:rPr>
              <a:t>decision</a:t>
            </a:r>
            <a:r>
              <a:rPr sz="865" b="1" spc="30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865" b="1" dirty="0">
                <a:solidFill>
                  <a:schemeClr val="accent4"/>
                </a:solidFill>
                <a:latin typeface="+mn-lt"/>
                <a:cs typeface="Arial"/>
              </a:rPr>
              <a:t>makers</a:t>
            </a:r>
          </a:p>
          <a:p>
            <a:pPr marR="42834" algn="ctr">
              <a:lnSpc>
                <a:spcPts val="2408"/>
              </a:lnSpc>
              <a:tabLst>
                <a:tab pos="940691" algn="l"/>
                <a:tab pos="1898954" algn="l"/>
              </a:tabLst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36%	30%	27%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L="442612">
              <a:spcBef>
                <a:spcPts val="553"/>
              </a:spcBef>
              <a:tabLst>
                <a:tab pos="1124106" algn="l"/>
                <a:tab pos="2142775" algn="l"/>
              </a:tabLst>
            </a:pPr>
            <a:r>
              <a:rPr sz="865" dirty="0">
                <a:latin typeface="+mn-lt"/>
                <a:cs typeface="Arial"/>
              </a:rPr>
              <a:t>HR	</a:t>
            </a:r>
            <a:r>
              <a:rPr sz="865" spc="-9" dirty="0">
                <a:latin typeface="+mn-lt"/>
                <a:cs typeface="Arial"/>
              </a:rPr>
              <a:t>Technology/IT	</a:t>
            </a:r>
            <a:r>
              <a:rPr sz="865" dirty="0">
                <a:latin typeface="+mn-lt"/>
                <a:cs typeface="Arial"/>
              </a:rPr>
              <a:t>Operations</a:t>
            </a:r>
          </a:p>
        </p:txBody>
      </p:sp>
      <p:sp>
        <p:nvSpPr>
          <p:cNvPr id="18" name="object 18"/>
          <p:cNvSpPr/>
          <p:nvPr/>
        </p:nvSpPr>
        <p:spPr>
          <a:xfrm>
            <a:off x="767553" y="3063395"/>
            <a:ext cx="3859402" cy="1590295"/>
          </a:xfrm>
          <a:custGeom>
            <a:avLst/>
            <a:gdLst/>
            <a:ahLst/>
            <a:cxnLst/>
            <a:rect l="l" t="t" r="r" b="b"/>
            <a:pathLst>
              <a:path w="3444240" h="1419225">
                <a:moveTo>
                  <a:pt x="0" y="0"/>
                </a:moveTo>
                <a:lnTo>
                  <a:pt x="0" y="1418843"/>
                </a:lnTo>
                <a:lnTo>
                  <a:pt x="3444239" y="1418843"/>
                </a:lnTo>
                <a:lnTo>
                  <a:pt x="3444239" y="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87846" y="3320345"/>
            <a:ext cx="948485" cy="761575"/>
          </a:xfrm>
          <a:prstGeom prst="rect">
            <a:avLst/>
          </a:prstGeom>
        </p:spPr>
        <p:txBody>
          <a:bodyPr vert="horz" wrap="square" lIns="0" tIns="127401" rIns="0" bIns="0" rtlCol="0">
            <a:spAutoFit/>
          </a:bodyPr>
          <a:lstStyle/>
          <a:p>
            <a:pPr marL="39539">
              <a:spcBef>
                <a:spcPts val="1003"/>
              </a:spcBef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~75%</a:t>
            </a:r>
            <a:endParaRPr sz="2032" b="1" dirty="0">
              <a:solidFill>
                <a:schemeClr val="accent4"/>
              </a:solidFill>
              <a:latin typeface="+mn-lt"/>
              <a:cs typeface="Georgia"/>
            </a:endParaRPr>
          </a:p>
          <a:p>
            <a:pPr marL="27457" marR="4393" indent="-28006">
              <a:lnSpc>
                <a:spcPct val="101000"/>
              </a:lnSpc>
              <a:spcBef>
                <a:spcPts val="389"/>
              </a:spcBef>
            </a:pPr>
            <a:r>
              <a:rPr sz="865" dirty="0">
                <a:latin typeface="+mn-lt"/>
                <a:cs typeface="Arial"/>
              </a:rPr>
              <a:t>cannot</a:t>
            </a:r>
            <a:r>
              <a:rPr sz="865" spc="-48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define  HCM as a</a:t>
            </a:r>
            <a:r>
              <a:rPr sz="865" spc="-74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full</a:t>
            </a:r>
          </a:p>
        </p:txBody>
      </p:sp>
      <p:sp>
        <p:nvSpPr>
          <p:cNvPr id="20" name="object 20"/>
          <p:cNvSpPr txBox="1"/>
          <p:nvPr/>
        </p:nvSpPr>
        <p:spPr>
          <a:xfrm>
            <a:off x="921245" y="4282121"/>
            <a:ext cx="1085101" cy="137769"/>
          </a:xfrm>
          <a:prstGeom prst="rect">
            <a:avLst/>
          </a:prstGeom>
        </p:spPr>
        <p:txBody>
          <a:bodyPr vert="horz" wrap="square" lIns="0" tIns="11532" rIns="0" bIns="0" rtlCol="0">
            <a:spAutoFit/>
          </a:bodyPr>
          <a:lstStyle/>
          <a:p>
            <a:pPr marL="27457" marR="4393" indent="-28006">
              <a:lnSpc>
                <a:spcPct val="101000"/>
              </a:lnSpc>
              <a:spcBef>
                <a:spcPts val="389"/>
              </a:spcBef>
            </a:pPr>
            <a:r>
              <a:rPr sz="865" dirty="0">
                <a:latin typeface="+mn-lt"/>
                <a:cs typeface="Arial"/>
              </a:rPr>
              <a:t>suite of solutions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1930503" y="3109518"/>
            <a:ext cx="2465491" cy="607421"/>
          </a:xfrm>
          <a:prstGeom prst="rect">
            <a:avLst/>
          </a:prstGeom>
        </p:spPr>
        <p:txBody>
          <a:bodyPr vert="horz" wrap="square" lIns="0" tIns="43382" rIns="0" bIns="0" rtlCol="0">
            <a:spAutoFit/>
          </a:bodyPr>
          <a:lstStyle/>
          <a:p>
            <a:pPr>
              <a:spcBef>
                <a:spcPts val="342"/>
              </a:spcBef>
            </a:pP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Product</a:t>
            </a:r>
            <a:r>
              <a:rPr sz="1297" b="1" spc="-43" dirty="0">
                <a:solidFill>
                  <a:schemeClr val="accent4"/>
                </a:solidFill>
                <a:latin typeface="+mn-lt"/>
                <a:cs typeface="Arial"/>
              </a:rPr>
              <a:t> </a:t>
            </a:r>
            <a:r>
              <a:rPr sz="1297" b="1" dirty="0">
                <a:solidFill>
                  <a:schemeClr val="accent4"/>
                </a:solidFill>
                <a:latin typeface="+mn-lt"/>
                <a:cs typeface="Arial"/>
              </a:rPr>
              <a:t>insights</a:t>
            </a:r>
          </a:p>
          <a:p>
            <a:pPr marL="252608">
              <a:spcBef>
                <a:spcPts val="385"/>
              </a:spcBef>
              <a:tabLst>
                <a:tab pos="1218559" algn="l"/>
              </a:tabLst>
            </a:pP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~</a:t>
            </a:r>
            <a:r>
              <a:rPr sz="2032" b="1" dirty="0">
                <a:solidFill>
                  <a:schemeClr val="accent4"/>
                </a:solidFill>
                <a:latin typeface="+mn-lt"/>
                <a:cs typeface="Georgia"/>
              </a:rPr>
              <a:t>4</a:t>
            </a: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0</a:t>
            </a:r>
            <a:r>
              <a:rPr sz="2032" b="1" dirty="0">
                <a:solidFill>
                  <a:schemeClr val="accent4"/>
                </a:solidFill>
                <a:latin typeface="+mn-lt"/>
                <a:cs typeface="Georgia"/>
              </a:rPr>
              <a:t>%	</a:t>
            </a: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&lt;</a:t>
            </a:r>
            <a:r>
              <a:rPr sz="2032" b="1" dirty="0">
                <a:solidFill>
                  <a:schemeClr val="accent4"/>
                </a:solidFill>
                <a:latin typeface="+mn-lt"/>
                <a:cs typeface="Georgia"/>
              </a:rPr>
              <a:t>5</a:t>
            </a:r>
            <a:r>
              <a:rPr sz="2032" b="1" spc="-4" dirty="0">
                <a:solidFill>
                  <a:schemeClr val="accent4"/>
                </a:solidFill>
                <a:latin typeface="+mn-lt"/>
                <a:cs typeface="Georgia"/>
              </a:rPr>
              <a:t>0</a:t>
            </a:r>
            <a:r>
              <a:rPr sz="2032" b="1" dirty="0">
                <a:solidFill>
                  <a:schemeClr val="accent4"/>
                </a:solidFill>
                <a:latin typeface="+mn-lt"/>
                <a:cs typeface="Georgia"/>
              </a:rPr>
              <a:t>%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2244721" y="3937167"/>
            <a:ext cx="2322470" cy="413916"/>
          </a:xfrm>
          <a:prstGeom prst="rect">
            <a:avLst/>
          </a:prstGeom>
        </p:spPr>
        <p:txBody>
          <a:bodyPr vert="horz" wrap="square" lIns="0" tIns="10434" rIns="0" bIns="0" rtlCol="0">
            <a:spAutoFit/>
          </a:bodyPr>
          <a:lstStyle/>
          <a:p>
            <a:pPr marL="35145" marR="4393" indent="-35695">
              <a:lnSpc>
                <a:spcPct val="101000"/>
              </a:lnSpc>
              <a:spcBef>
                <a:spcPts val="82"/>
              </a:spcBef>
              <a:tabLst>
                <a:tab pos="860514" algn="l"/>
                <a:tab pos="937945" algn="l"/>
                <a:tab pos="1109279" algn="l"/>
              </a:tabLst>
            </a:pPr>
            <a:r>
              <a:rPr sz="865" dirty="0">
                <a:latin typeface="+mn-lt"/>
                <a:cs typeface="Arial"/>
              </a:rPr>
              <a:t>said</a:t>
            </a:r>
            <a:r>
              <a:rPr sz="865" spc="4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they use		rank</a:t>
            </a:r>
            <a:r>
              <a:rPr sz="865" spc="-30" dirty="0">
                <a:latin typeface="+mn-lt"/>
                <a:cs typeface="Arial"/>
              </a:rPr>
              <a:t> </a:t>
            </a:r>
            <a:r>
              <a:rPr sz="865" spc="-4" dirty="0">
                <a:latin typeface="+mn-lt"/>
                <a:cs typeface="Arial"/>
              </a:rPr>
              <a:t>Payroll </a:t>
            </a:r>
            <a:r>
              <a:rPr sz="865" dirty="0">
                <a:latin typeface="+mn-lt"/>
                <a:cs typeface="Arial"/>
              </a:rPr>
              <a:t>as  HCM when</a:t>
            </a:r>
            <a:r>
              <a:rPr sz="865" spc="-17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it	the</a:t>
            </a:r>
            <a:r>
              <a:rPr sz="865" spc="-22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most</a:t>
            </a:r>
            <a:r>
              <a:rPr sz="865" spc="-30" dirty="0">
                <a:latin typeface="+mn-lt"/>
                <a:cs typeface="Arial"/>
              </a:rPr>
              <a:t> </a:t>
            </a:r>
            <a:r>
              <a:rPr sz="865" dirty="0">
                <a:latin typeface="+mn-lt"/>
                <a:cs typeface="Arial"/>
              </a:rPr>
              <a:t>important  was defined			solution</a:t>
            </a:r>
          </a:p>
        </p:txBody>
      </p:sp>
      <p:sp>
        <p:nvSpPr>
          <p:cNvPr id="26" name="object 26"/>
          <p:cNvSpPr txBox="1"/>
          <p:nvPr/>
        </p:nvSpPr>
        <p:spPr>
          <a:xfrm>
            <a:off x="9080070" y="4925924"/>
            <a:ext cx="2255587" cy="933866"/>
          </a:xfrm>
          <a:prstGeom prst="rect">
            <a:avLst/>
          </a:prstGeom>
        </p:spPr>
        <p:txBody>
          <a:bodyPr vert="horz" wrap="square" lIns="0" tIns="10434" rIns="0" bIns="0" rtlCol="0">
            <a:spAutoFit/>
          </a:bodyPr>
          <a:lstStyle/>
          <a:p>
            <a:pPr marL="10983" marR="35695">
              <a:lnSpc>
                <a:spcPct val="99700"/>
              </a:lnSpc>
              <a:spcBef>
                <a:spcPts val="82"/>
              </a:spcBef>
            </a:pPr>
            <a:r>
              <a:rPr sz="1200" spc="-4" dirty="0">
                <a:latin typeface="+mn-lt"/>
                <a:cs typeface="Georgia"/>
              </a:rPr>
              <a:t>“I </a:t>
            </a:r>
            <a:r>
              <a:rPr sz="1200" spc="-9" dirty="0">
                <a:latin typeface="+mn-lt"/>
                <a:cs typeface="Georgia"/>
              </a:rPr>
              <a:t>would </a:t>
            </a:r>
            <a:r>
              <a:rPr sz="1200" spc="-4" dirty="0">
                <a:latin typeface="+mn-lt"/>
                <a:cs typeface="Georgia"/>
              </a:rPr>
              <a:t>like </a:t>
            </a:r>
            <a:r>
              <a:rPr sz="1200" spc="-9" dirty="0">
                <a:latin typeface="+mn-lt"/>
                <a:cs typeface="Georgia"/>
              </a:rPr>
              <a:t>an  </a:t>
            </a:r>
            <a:r>
              <a:rPr sz="1200" spc="95" dirty="0">
                <a:latin typeface="+mn-lt"/>
                <a:cs typeface="Georgia"/>
              </a:rPr>
              <a:t>immediate response  </a:t>
            </a:r>
            <a:r>
              <a:rPr sz="1200" spc="78" dirty="0">
                <a:latin typeface="+mn-lt"/>
                <a:cs typeface="Georgia"/>
              </a:rPr>
              <a:t>to </a:t>
            </a:r>
            <a:r>
              <a:rPr sz="1200" spc="108" dirty="0">
                <a:latin typeface="+mn-lt"/>
                <a:cs typeface="Georgia"/>
              </a:rPr>
              <a:t>my </a:t>
            </a:r>
            <a:r>
              <a:rPr sz="1200" spc="91" dirty="0">
                <a:latin typeface="+mn-lt"/>
                <a:cs typeface="Georgia"/>
              </a:rPr>
              <a:t>queries</a:t>
            </a:r>
            <a:r>
              <a:rPr sz="1200" spc="-147" dirty="0">
                <a:latin typeface="+mn-lt"/>
                <a:cs typeface="Georgia"/>
              </a:rPr>
              <a:t> </a:t>
            </a:r>
            <a:r>
              <a:rPr sz="1200" spc="91" dirty="0">
                <a:latin typeface="+mn-lt"/>
                <a:cs typeface="Georgia"/>
              </a:rPr>
              <a:t>through  </a:t>
            </a:r>
            <a:r>
              <a:rPr sz="1200" spc="86" dirty="0">
                <a:latin typeface="+mn-lt"/>
                <a:cs typeface="Georgia"/>
              </a:rPr>
              <a:t>the websites </a:t>
            </a:r>
            <a:r>
              <a:rPr sz="1200" spc="108" dirty="0">
                <a:latin typeface="+mn-lt"/>
                <a:cs typeface="Georgia"/>
              </a:rPr>
              <a:t>or</a:t>
            </a:r>
            <a:r>
              <a:rPr sz="1200" spc="-130" dirty="0">
                <a:latin typeface="+mn-lt"/>
                <a:cs typeface="Georgia"/>
              </a:rPr>
              <a:t> </a:t>
            </a:r>
            <a:r>
              <a:rPr sz="1200" spc="95" dirty="0">
                <a:latin typeface="+mn-lt"/>
                <a:cs typeface="Georgia"/>
              </a:rPr>
              <a:t>phone  </a:t>
            </a:r>
            <a:r>
              <a:rPr sz="1200" spc="-9" dirty="0">
                <a:latin typeface="+mn-lt"/>
                <a:cs typeface="Georgia"/>
              </a:rPr>
              <a:t>through customer </a:t>
            </a:r>
            <a:r>
              <a:rPr sz="1200" spc="-4" dirty="0">
                <a:latin typeface="+mn-lt"/>
                <a:cs typeface="Georgia"/>
              </a:rPr>
              <a:t>service  </a:t>
            </a:r>
            <a:r>
              <a:rPr sz="1200" spc="-9" dirty="0">
                <a:latin typeface="+mn-lt"/>
                <a:cs typeface="Georgia"/>
              </a:rPr>
              <a:t>rather than wait</a:t>
            </a:r>
            <a:r>
              <a:rPr sz="1200" spc="35" dirty="0">
                <a:latin typeface="+mn-lt"/>
                <a:cs typeface="Georgia"/>
              </a:rPr>
              <a:t> </a:t>
            </a:r>
            <a:r>
              <a:rPr sz="1200" spc="-9" dirty="0">
                <a:latin typeface="+mn-lt"/>
                <a:cs typeface="Georgia"/>
              </a:rPr>
              <a:t>forever</a:t>
            </a:r>
            <a:r>
              <a:rPr sz="1200" spc="-9" dirty="0" smtClean="0">
                <a:latin typeface="+mn-lt"/>
                <a:cs typeface="Georgia"/>
              </a:rPr>
              <a:t>”</a:t>
            </a:r>
            <a:endParaRPr sz="1200" dirty="0">
              <a:latin typeface="+mn-lt"/>
              <a:cs typeface="Georg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306286" y="4925924"/>
            <a:ext cx="3109910" cy="934420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L="420688" marR="4393">
              <a:lnSpc>
                <a:spcPct val="99600"/>
              </a:lnSpc>
              <a:spcBef>
                <a:spcPts val="86"/>
              </a:spcBef>
            </a:pPr>
            <a:r>
              <a:rPr sz="1200" spc="-4" dirty="0">
                <a:latin typeface="+mn-lt"/>
                <a:cs typeface="Georgia"/>
              </a:rPr>
              <a:t>“I </a:t>
            </a:r>
            <a:r>
              <a:rPr sz="1200" spc="-9" dirty="0">
                <a:latin typeface="+mn-lt"/>
                <a:cs typeface="Georgia"/>
              </a:rPr>
              <a:t>would </a:t>
            </a:r>
            <a:r>
              <a:rPr sz="1200" spc="-4" dirty="0">
                <a:latin typeface="+mn-lt"/>
                <a:cs typeface="Georgia"/>
              </a:rPr>
              <a:t>like it if the  </a:t>
            </a:r>
            <a:r>
              <a:rPr sz="1200" spc="95" dirty="0">
                <a:latin typeface="+mn-lt"/>
                <a:cs typeface="Georgia"/>
              </a:rPr>
              <a:t>companies </a:t>
            </a:r>
            <a:r>
              <a:rPr sz="1200" spc="74" dirty="0">
                <a:latin typeface="+mn-lt"/>
                <a:cs typeface="Georgia"/>
              </a:rPr>
              <a:t>all </a:t>
            </a:r>
            <a:r>
              <a:rPr sz="1200" spc="95" dirty="0">
                <a:latin typeface="+mn-lt"/>
                <a:cs typeface="Georgia"/>
              </a:rPr>
              <a:t>had </a:t>
            </a:r>
            <a:r>
              <a:rPr sz="1200" spc="86" dirty="0">
                <a:latin typeface="+mn-lt"/>
                <a:cs typeface="Georgia"/>
              </a:rPr>
              <a:t>online  chat </a:t>
            </a:r>
            <a:r>
              <a:rPr sz="1200" spc="-9" dirty="0">
                <a:latin typeface="+mn-lt"/>
                <a:cs typeface="Georgia"/>
              </a:rPr>
              <a:t>so </a:t>
            </a:r>
            <a:r>
              <a:rPr sz="1200" spc="-4" dirty="0">
                <a:latin typeface="+mn-lt"/>
                <a:cs typeface="Georgia"/>
              </a:rPr>
              <a:t>I </a:t>
            </a:r>
            <a:r>
              <a:rPr sz="1200" spc="-9" dirty="0">
                <a:latin typeface="+mn-lt"/>
                <a:cs typeface="Georgia"/>
              </a:rPr>
              <a:t>could immediately  have </a:t>
            </a:r>
            <a:r>
              <a:rPr sz="1200" spc="-4" dirty="0">
                <a:latin typeface="+mn-lt"/>
                <a:cs typeface="Georgia"/>
              </a:rPr>
              <a:t>a </a:t>
            </a:r>
            <a:r>
              <a:rPr sz="1200" spc="-9" dirty="0">
                <a:latin typeface="+mn-lt"/>
                <a:cs typeface="Georgia"/>
              </a:rPr>
              <a:t>question answered and  make </a:t>
            </a:r>
            <a:r>
              <a:rPr sz="1200" spc="-4" dirty="0">
                <a:latin typeface="+mn-lt"/>
                <a:cs typeface="Georgia"/>
              </a:rPr>
              <a:t>a</a:t>
            </a:r>
            <a:r>
              <a:rPr sz="1200" spc="-17" dirty="0">
                <a:latin typeface="+mn-lt"/>
                <a:cs typeface="Georgia"/>
              </a:rPr>
              <a:t> </a:t>
            </a:r>
            <a:r>
              <a:rPr sz="1200" spc="-9" dirty="0">
                <a:latin typeface="+mn-lt"/>
                <a:cs typeface="Georgia"/>
              </a:rPr>
              <a:t>decision</a:t>
            </a:r>
            <a:endParaRPr sz="1200" dirty="0">
              <a:latin typeface="+mn-lt"/>
              <a:cs typeface="Georgia"/>
            </a:endParaRPr>
          </a:p>
          <a:p>
            <a:pPr marL="420688"/>
            <a:r>
              <a:rPr sz="1200" spc="-9" dirty="0">
                <a:latin typeface="+mn-lt"/>
                <a:cs typeface="Georgia"/>
              </a:rPr>
              <a:t>on </a:t>
            </a:r>
            <a:r>
              <a:rPr sz="1200" spc="-4" dirty="0">
                <a:latin typeface="+mn-lt"/>
                <a:cs typeface="Georgia"/>
              </a:rPr>
              <a:t>a </a:t>
            </a:r>
            <a:r>
              <a:rPr sz="1200" spc="-9" dirty="0">
                <a:latin typeface="+mn-lt"/>
                <a:cs typeface="Georgia"/>
              </a:rPr>
              <a:t>solution</a:t>
            </a:r>
            <a:r>
              <a:rPr sz="1200" dirty="0">
                <a:latin typeface="+mn-lt"/>
                <a:cs typeface="Georgia"/>
              </a:rPr>
              <a:t> </a:t>
            </a:r>
            <a:r>
              <a:rPr sz="1200" spc="-4" dirty="0">
                <a:latin typeface="+mn-lt"/>
                <a:cs typeface="Georgia"/>
              </a:rPr>
              <a:t>quicker</a:t>
            </a:r>
            <a:r>
              <a:rPr sz="1200" spc="-4" dirty="0" smtClean="0">
                <a:latin typeface="+mn-lt"/>
                <a:cs typeface="Georgia"/>
              </a:rPr>
              <a:t>”</a:t>
            </a:r>
            <a:endParaRPr sz="1200" dirty="0">
              <a:latin typeface="+mn-lt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884966" y="4931048"/>
            <a:ext cx="1671411" cy="934420"/>
          </a:xfrm>
          <a:prstGeom prst="rect">
            <a:avLst/>
          </a:prstGeom>
        </p:spPr>
        <p:txBody>
          <a:bodyPr vert="horz" wrap="square" lIns="0" tIns="10983" rIns="0" bIns="0" rtlCol="0">
            <a:spAutoFit/>
          </a:bodyPr>
          <a:lstStyle/>
          <a:p>
            <a:pPr marL="10983" marR="4393">
              <a:lnSpc>
                <a:spcPct val="99600"/>
              </a:lnSpc>
              <a:spcBef>
                <a:spcPts val="86"/>
              </a:spcBef>
            </a:pPr>
            <a:r>
              <a:rPr sz="1200" spc="-9" dirty="0">
                <a:latin typeface="+mn-lt"/>
                <a:cs typeface="Georgia"/>
              </a:rPr>
              <a:t>“Most solutions are  expensive and  </a:t>
            </a:r>
            <a:r>
              <a:rPr sz="1200" spc="91" dirty="0">
                <a:latin typeface="+mn-lt"/>
                <a:cs typeface="Georgia"/>
              </a:rPr>
              <a:t>geared </a:t>
            </a:r>
            <a:r>
              <a:rPr sz="1200" spc="95" dirty="0">
                <a:latin typeface="+mn-lt"/>
                <a:cs typeface="Georgia"/>
              </a:rPr>
              <a:t>towards  </a:t>
            </a:r>
            <a:r>
              <a:rPr sz="1200" spc="74" dirty="0">
                <a:latin typeface="+mn-lt"/>
                <a:cs typeface="Georgia"/>
              </a:rPr>
              <a:t>big </a:t>
            </a:r>
            <a:r>
              <a:rPr sz="1200" spc="86" dirty="0">
                <a:latin typeface="+mn-lt"/>
                <a:cs typeface="Georgia"/>
              </a:rPr>
              <a:t>businesses,  </a:t>
            </a:r>
            <a:r>
              <a:rPr sz="1200" spc="-9" dirty="0">
                <a:latin typeface="+mn-lt"/>
                <a:cs typeface="Georgia"/>
              </a:rPr>
              <a:t>not </a:t>
            </a:r>
            <a:r>
              <a:rPr sz="1200" spc="-4" dirty="0">
                <a:latin typeface="+mn-lt"/>
                <a:cs typeface="Georgia"/>
              </a:rPr>
              <a:t>the </a:t>
            </a:r>
            <a:r>
              <a:rPr sz="1200" spc="-9" dirty="0">
                <a:latin typeface="+mn-lt"/>
                <a:cs typeface="Georgia"/>
              </a:rPr>
              <a:t>small guys”</a:t>
            </a:r>
            <a:endParaRPr sz="1200" dirty="0">
              <a:latin typeface="+mn-lt"/>
              <a:cs typeface="Georgia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8010902" y="2512795"/>
            <a:ext cx="249040" cy="249039"/>
          </a:xfrm>
          <a:custGeom>
            <a:avLst/>
            <a:gdLst/>
            <a:ahLst/>
            <a:cxnLst/>
            <a:rect l="l" t="t" r="r" b="b"/>
            <a:pathLst>
              <a:path w="222250" h="222250">
                <a:moveTo>
                  <a:pt x="221837" y="124729"/>
                </a:moveTo>
                <a:lnTo>
                  <a:pt x="218765" y="81986"/>
                </a:lnTo>
                <a:lnTo>
                  <a:pt x="199977" y="43529"/>
                </a:lnTo>
                <a:lnTo>
                  <a:pt x="166758" y="14358"/>
                </a:lnTo>
                <a:lnTo>
                  <a:pt x="126563" y="452"/>
                </a:lnTo>
                <a:lnTo>
                  <a:pt x="104822" y="0"/>
                </a:lnTo>
                <a:lnTo>
                  <a:pt x="82938" y="3690"/>
                </a:lnTo>
                <a:lnTo>
                  <a:pt x="43505" y="22740"/>
                </a:lnTo>
                <a:lnTo>
                  <a:pt x="14358" y="55506"/>
                </a:lnTo>
                <a:lnTo>
                  <a:pt x="452" y="96273"/>
                </a:lnTo>
                <a:lnTo>
                  <a:pt x="0" y="117657"/>
                </a:lnTo>
                <a:lnTo>
                  <a:pt x="3690" y="139326"/>
                </a:lnTo>
                <a:lnTo>
                  <a:pt x="11358" y="160758"/>
                </a:lnTo>
                <a:lnTo>
                  <a:pt x="22740" y="179331"/>
                </a:lnTo>
                <a:lnTo>
                  <a:pt x="23693" y="180342"/>
                </a:lnTo>
                <a:lnTo>
                  <a:pt x="23693" y="116133"/>
                </a:lnTo>
                <a:lnTo>
                  <a:pt x="24264" y="99321"/>
                </a:lnTo>
                <a:lnTo>
                  <a:pt x="45315" y="53125"/>
                </a:lnTo>
                <a:lnTo>
                  <a:pt x="89034" y="26550"/>
                </a:lnTo>
                <a:lnTo>
                  <a:pt x="106156" y="23693"/>
                </a:lnTo>
                <a:lnTo>
                  <a:pt x="123134" y="24264"/>
                </a:lnTo>
                <a:lnTo>
                  <a:pt x="181641" y="58793"/>
                </a:lnTo>
                <a:lnTo>
                  <a:pt x="197881" y="122705"/>
                </a:lnTo>
                <a:lnTo>
                  <a:pt x="197881" y="178175"/>
                </a:lnTo>
                <a:lnTo>
                  <a:pt x="207906" y="166758"/>
                </a:lnTo>
                <a:lnTo>
                  <a:pt x="221837" y="124729"/>
                </a:lnTo>
                <a:close/>
              </a:path>
              <a:path w="222250" h="222250">
                <a:moveTo>
                  <a:pt x="197881" y="178175"/>
                </a:moveTo>
                <a:lnTo>
                  <a:pt x="197881" y="122705"/>
                </a:lnTo>
                <a:lnTo>
                  <a:pt x="186570" y="156090"/>
                </a:lnTo>
                <a:lnTo>
                  <a:pt x="164139" y="181641"/>
                </a:lnTo>
                <a:lnTo>
                  <a:pt x="133992" y="195905"/>
                </a:lnTo>
                <a:lnTo>
                  <a:pt x="100417" y="197881"/>
                </a:lnTo>
                <a:lnTo>
                  <a:pt x="67698" y="186570"/>
                </a:lnTo>
                <a:lnTo>
                  <a:pt x="32551" y="149709"/>
                </a:lnTo>
                <a:lnTo>
                  <a:pt x="23693" y="116133"/>
                </a:lnTo>
                <a:lnTo>
                  <a:pt x="23693" y="180342"/>
                </a:lnTo>
                <a:lnTo>
                  <a:pt x="37552" y="195048"/>
                </a:lnTo>
                <a:lnTo>
                  <a:pt x="55506" y="207906"/>
                </a:lnTo>
                <a:lnTo>
                  <a:pt x="97535" y="221837"/>
                </a:lnTo>
                <a:lnTo>
                  <a:pt x="140279" y="218765"/>
                </a:lnTo>
                <a:lnTo>
                  <a:pt x="178736" y="199977"/>
                </a:lnTo>
                <a:lnTo>
                  <a:pt x="197881" y="17817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8067976" y="2557489"/>
            <a:ext cx="119540" cy="43405"/>
          </a:xfrm>
          <a:custGeom>
            <a:avLst/>
            <a:gdLst/>
            <a:ahLst/>
            <a:cxnLst/>
            <a:rect l="l" t="t" r="r" b="b"/>
            <a:pathLst>
              <a:path w="106679" h="38735">
                <a:moveTo>
                  <a:pt x="106679" y="12572"/>
                </a:moveTo>
                <a:lnTo>
                  <a:pt x="79295" y="428"/>
                </a:lnTo>
                <a:lnTo>
                  <a:pt x="49910" y="0"/>
                </a:lnTo>
                <a:lnTo>
                  <a:pt x="22240" y="10429"/>
                </a:lnTo>
                <a:lnTo>
                  <a:pt x="0" y="30860"/>
                </a:lnTo>
                <a:lnTo>
                  <a:pt x="10667" y="38480"/>
                </a:lnTo>
                <a:lnTo>
                  <a:pt x="28765" y="21978"/>
                </a:lnTo>
                <a:lnTo>
                  <a:pt x="51434" y="13906"/>
                </a:lnTo>
                <a:lnTo>
                  <a:pt x="75818" y="14692"/>
                </a:lnTo>
                <a:lnTo>
                  <a:pt x="99059" y="24764"/>
                </a:lnTo>
                <a:lnTo>
                  <a:pt x="106679" y="1257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7941606" y="2730395"/>
            <a:ext cx="167924" cy="208482"/>
          </a:xfrm>
          <a:custGeom>
            <a:avLst/>
            <a:gdLst/>
            <a:ahLst/>
            <a:cxnLst/>
            <a:rect l="l" t="t" r="r" b="b"/>
            <a:pathLst>
              <a:path w="149859" h="186054">
                <a:moveTo>
                  <a:pt x="149351" y="42671"/>
                </a:moveTo>
                <a:lnTo>
                  <a:pt x="139088" y="40719"/>
                </a:lnTo>
                <a:lnTo>
                  <a:pt x="128968" y="37337"/>
                </a:lnTo>
                <a:lnTo>
                  <a:pt x="119133" y="32813"/>
                </a:lnTo>
                <a:lnTo>
                  <a:pt x="109727" y="27431"/>
                </a:lnTo>
                <a:lnTo>
                  <a:pt x="99964" y="22074"/>
                </a:lnTo>
                <a:lnTo>
                  <a:pt x="91058" y="15430"/>
                </a:lnTo>
                <a:lnTo>
                  <a:pt x="82724" y="7929"/>
                </a:lnTo>
                <a:lnTo>
                  <a:pt x="74675" y="0"/>
                </a:lnTo>
                <a:lnTo>
                  <a:pt x="0" y="132587"/>
                </a:lnTo>
                <a:lnTo>
                  <a:pt x="2214" y="155567"/>
                </a:lnTo>
                <a:lnTo>
                  <a:pt x="24574" y="175831"/>
                </a:lnTo>
                <a:lnTo>
                  <a:pt x="27431" y="176807"/>
                </a:lnTo>
                <a:lnTo>
                  <a:pt x="27431" y="118871"/>
                </a:lnTo>
                <a:lnTo>
                  <a:pt x="73151" y="38099"/>
                </a:lnTo>
                <a:lnTo>
                  <a:pt x="83819" y="42671"/>
                </a:lnTo>
                <a:lnTo>
                  <a:pt x="83819" y="158008"/>
                </a:lnTo>
                <a:lnTo>
                  <a:pt x="149351" y="42671"/>
                </a:lnTo>
                <a:close/>
              </a:path>
              <a:path w="149859" h="186054">
                <a:moveTo>
                  <a:pt x="83819" y="158008"/>
                </a:moveTo>
                <a:lnTo>
                  <a:pt x="83819" y="42671"/>
                </a:lnTo>
                <a:lnTo>
                  <a:pt x="38099" y="124967"/>
                </a:lnTo>
                <a:lnTo>
                  <a:pt x="27431" y="118871"/>
                </a:lnTo>
                <a:lnTo>
                  <a:pt x="27431" y="176807"/>
                </a:lnTo>
                <a:lnTo>
                  <a:pt x="52935" y="185523"/>
                </a:lnTo>
                <a:lnTo>
                  <a:pt x="73151" y="176783"/>
                </a:lnTo>
                <a:lnTo>
                  <a:pt x="83819" y="158008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9111382" y="2557915"/>
            <a:ext cx="305963" cy="392770"/>
          </a:xfrm>
          <a:custGeom>
            <a:avLst/>
            <a:gdLst/>
            <a:ahLst/>
            <a:cxnLst/>
            <a:rect l="l" t="t" r="r" b="b"/>
            <a:pathLst>
              <a:path w="273050" h="350520">
                <a:moveTo>
                  <a:pt x="272795" y="64007"/>
                </a:moveTo>
                <a:lnTo>
                  <a:pt x="272795" y="19811"/>
                </a:lnTo>
                <a:lnTo>
                  <a:pt x="271176" y="12215"/>
                </a:lnTo>
                <a:lnTo>
                  <a:pt x="266699" y="5905"/>
                </a:lnTo>
                <a:lnTo>
                  <a:pt x="259937" y="1595"/>
                </a:lnTo>
                <a:lnTo>
                  <a:pt x="251459" y="0"/>
                </a:lnTo>
                <a:lnTo>
                  <a:pt x="94487" y="0"/>
                </a:lnTo>
                <a:lnTo>
                  <a:pt x="0" y="94487"/>
                </a:lnTo>
                <a:lnTo>
                  <a:pt x="0" y="329183"/>
                </a:lnTo>
                <a:lnTo>
                  <a:pt x="1595" y="337661"/>
                </a:lnTo>
                <a:lnTo>
                  <a:pt x="5905" y="344423"/>
                </a:lnTo>
                <a:lnTo>
                  <a:pt x="12215" y="348900"/>
                </a:lnTo>
                <a:lnTo>
                  <a:pt x="13715" y="349220"/>
                </a:lnTo>
                <a:lnTo>
                  <a:pt x="13715" y="108203"/>
                </a:lnTo>
                <a:lnTo>
                  <a:pt x="68579" y="108203"/>
                </a:lnTo>
                <a:lnTo>
                  <a:pt x="103060" y="86439"/>
                </a:lnTo>
                <a:lnTo>
                  <a:pt x="108203" y="59435"/>
                </a:lnTo>
                <a:lnTo>
                  <a:pt x="108203" y="15239"/>
                </a:lnTo>
                <a:lnTo>
                  <a:pt x="254507" y="15239"/>
                </a:lnTo>
                <a:lnTo>
                  <a:pt x="259079" y="19811"/>
                </a:lnTo>
                <a:lnTo>
                  <a:pt x="259079" y="64007"/>
                </a:lnTo>
                <a:lnTo>
                  <a:pt x="272795" y="64007"/>
                </a:lnTo>
                <a:close/>
              </a:path>
              <a:path w="273050" h="350520">
                <a:moveTo>
                  <a:pt x="272795" y="329183"/>
                </a:moveTo>
                <a:lnTo>
                  <a:pt x="272795" y="239267"/>
                </a:lnTo>
                <a:lnTo>
                  <a:pt x="259079" y="239267"/>
                </a:lnTo>
                <a:lnTo>
                  <a:pt x="259079" y="333755"/>
                </a:lnTo>
                <a:lnTo>
                  <a:pt x="256031" y="335279"/>
                </a:lnTo>
                <a:lnTo>
                  <a:pt x="16763" y="335279"/>
                </a:lnTo>
                <a:lnTo>
                  <a:pt x="13715" y="333755"/>
                </a:lnTo>
                <a:lnTo>
                  <a:pt x="13715" y="349220"/>
                </a:lnTo>
                <a:lnTo>
                  <a:pt x="19811" y="350519"/>
                </a:lnTo>
                <a:lnTo>
                  <a:pt x="251459" y="350519"/>
                </a:lnTo>
                <a:lnTo>
                  <a:pt x="259937" y="348900"/>
                </a:lnTo>
                <a:lnTo>
                  <a:pt x="266699" y="344423"/>
                </a:lnTo>
                <a:lnTo>
                  <a:pt x="271176" y="337661"/>
                </a:lnTo>
                <a:lnTo>
                  <a:pt x="272795" y="32918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9150659" y="2719294"/>
            <a:ext cx="181443" cy="0"/>
          </a:xfrm>
          <a:custGeom>
            <a:avLst/>
            <a:gdLst/>
            <a:ahLst/>
            <a:cxnLst/>
            <a:rect l="l" t="t" r="r" b="b"/>
            <a:pathLst>
              <a:path w="161925">
                <a:moveTo>
                  <a:pt x="0" y="0"/>
                </a:moveTo>
                <a:lnTo>
                  <a:pt x="161543" y="0"/>
                </a:lnTo>
              </a:path>
            </a:pathLst>
          </a:custGeom>
          <a:ln w="16763">
            <a:solidFill>
              <a:srgbClr val="1F3FE6"/>
            </a:solidFill>
          </a:ln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9150661" y="2779916"/>
            <a:ext cx="138750" cy="0"/>
          </a:xfrm>
          <a:custGeom>
            <a:avLst/>
            <a:gdLst/>
            <a:ahLst/>
            <a:cxnLst/>
            <a:rect l="l" t="t" r="r" b="b"/>
            <a:pathLst>
              <a:path w="123825">
                <a:moveTo>
                  <a:pt x="0" y="0"/>
                </a:moveTo>
                <a:lnTo>
                  <a:pt x="123443" y="0"/>
                </a:lnTo>
              </a:path>
            </a:pathLst>
          </a:custGeom>
          <a:ln w="15239">
            <a:solidFill>
              <a:srgbClr val="1F3FE6"/>
            </a:solidFill>
          </a:ln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9150659" y="2842248"/>
            <a:ext cx="109578" cy="0"/>
          </a:xfrm>
          <a:custGeom>
            <a:avLst/>
            <a:gdLst/>
            <a:ahLst/>
            <a:cxnLst/>
            <a:rect l="l" t="t" r="r" b="b"/>
            <a:pathLst>
              <a:path w="97790">
                <a:moveTo>
                  <a:pt x="0" y="0"/>
                </a:moveTo>
                <a:lnTo>
                  <a:pt x="97535" y="0"/>
                </a:lnTo>
              </a:path>
            </a:pathLst>
          </a:custGeom>
          <a:ln w="13715">
            <a:solidFill>
              <a:srgbClr val="1F3FE6"/>
            </a:solidFill>
          </a:ln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9452923" y="2557915"/>
            <a:ext cx="87519" cy="85385"/>
          </a:xfrm>
          <a:custGeom>
            <a:avLst/>
            <a:gdLst/>
            <a:ahLst/>
            <a:cxnLst/>
            <a:rect l="l" t="t" r="r" b="b"/>
            <a:pathLst>
              <a:path w="78104" h="76200">
                <a:moveTo>
                  <a:pt x="77723" y="35051"/>
                </a:moveTo>
                <a:lnTo>
                  <a:pt x="77723" y="32003"/>
                </a:lnTo>
                <a:lnTo>
                  <a:pt x="74675" y="30479"/>
                </a:lnTo>
                <a:lnTo>
                  <a:pt x="33527" y="1523"/>
                </a:lnTo>
                <a:lnTo>
                  <a:pt x="32003" y="0"/>
                </a:lnTo>
                <a:lnTo>
                  <a:pt x="27431" y="1523"/>
                </a:lnTo>
                <a:lnTo>
                  <a:pt x="25907" y="3047"/>
                </a:lnTo>
                <a:lnTo>
                  <a:pt x="0" y="41147"/>
                </a:lnTo>
                <a:lnTo>
                  <a:pt x="48767" y="76199"/>
                </a:lnTo>
                <a:lnTo>
                  <a:pt x="76199" y="38099"/>
                </a:lnTo>
                <a:lnTo>
                  <a:pt x="77723" y="3505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9285566" y="2861887"/>
            <a:ext cx="34154" cy="37711"/>
          </a:xfrm>
          <a:custGeom>
            <a:avLst/>
            <a:gdLst/>
            <a:ahLst/>
            <a:cxnLst/>
            <a:rect l="l" t="t" r="r" b="b"/>
            <a:pathLst>
              <a:path w="30479" h="33654">
                <a:moveTo>
                  <a:pt x="30479" y="15239"/>
                </a:moveTo>
                <a:lnTo>
                  <a:pt x="7619" y="0"/>
                </a:lnTo>
                <a:lnTo>
                  <a:pt x="1523" y="30479"/>
                </a:lnTo>
                <a:lnTo>
                  <a:pt x="0" y="32003"/>
                </a:lnTo>
                <a:lnTo>
                  <a:pt x="1523" y="33527"/>
                </a:lnTo>
                <a:lnTo>
                  <a:pt x="4571" y="32003"/>
                </a:lnTo>
                <a:lnTo>
                  <a:pt x="30479" y="1523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9295814" y="2614269"/>
            <a:ext cx="204924" cy="259712"/>
          </a:xfrm>
          <a:custGeom>
            <a:avLst/>
            <a:gdLst/>
            <a:ahLst/>
            <a:cxnLst/>
            <a:rect l="l" t="t" r="r" b="b"/>
            <a:pathLst>
              <a:path w="182879" h="231775">
                <a:moveTo>
                  <a:pt x="182879" y="32003"/>
                </a:moveTo>
                <a:lnTo>
                  <a:pt x="135635" y="0"/>
                </a:lnTo>
                <a:lnTo>
                  <a:pt x="15239" y="170687"/>
                </a:lnTo>
                <a:lnTo>
                  <a:pt x="13715" y="173735"/>
                </a:lnTo>
                <a:lnTo>
                  <a:pt x="0" y="211835"/>
                </a:lnTo>
                <a:lnTo>
                  <a:pt x="4571" y="214883"/>
                </a:lnTo>
                <a:lnTo>
                  <a:pt x="18287" y="178307"/>
                </a:lnTo>
                <a:lnTo>
                  <a:pt x="38099" y="192090"/>
                </a:lnTo>
                <a:lnTo>
                  <a:pt x="38099" y="179831"/>
                </a:lnTo>
                <a:lnTo>
                  <a:pt x="147827" y="21335"/>
                </a:lnTo>
                <a:lnTo>
                  <a:pt x="156971" y="27431"/>
                </a:lnTo>
                <a:lnTo>
                  <a:pt x="156971" y="69205"/>
                </a:lnTo>
                <a:lnTo>
                  <a:pt x="182879" y="32003"/>
                </a:lnTo>
                <a:close/>
              </a:path>
              <a:path w="182879" h="231775">
                <a:moveTo>
                  <a:pt x="53339" y="210921"/>
                </a:moveTo>
                <a:lnTo>
                  <a:pt x="53339" y="202691"/>
                </a:lnTo>
                <a:lnTo>
                  <a:pt x="24383" y="228599"/>
                </a:lnTo>
                <a:lnTo>
                  <a:pt x="28955" y="231647"/>
                </a:lnTo>
                <a:lnTo>
                  <a:pt x="53339" y="210921"/>
                </a:lnTo>
                <a:close/>
              </a:path>
              <a:path w="182879" h="231775">
                <a:moveTo>
                  <a:pt x="156971" y="69205"/>
                </a:moveTo>
                <a:lnTo>
                  <a:pt x="156971" y="27431"/>
                </a:lnTo>
                <a:lnTo>
                  <a:pt x="45719" y="185927"/>
                </a:lnTo>
                <a:lnTo>
                  <a:pt x="38099" y="179831"/>
                </a:lnTo>
                <a:lnTo>
                  <a:pt x="38099" y="192090"/>
                </a:lnTo>
                <a:lnTo>
                  <a:pt x="53339" y="202691"/>
                </a:lnTo>
                <a:lnTo>
                  <a:pt x="53339" y="210921"/>
                </a:lnTo>
                <a:lnTo>
                  <a:pt x="59435" y="205739"/>
                </a:lnTo>
                <a:lnTo>
                  <a:pt x="64007" y="202691"/>
                </a:lnTo>
                <a:lnTo>
                  <a:pt x="156971" y="69205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0354586" y="2557915"/>
            <a:ext cx="392771" cy="392770"/>
          </a:xfrm>
          <a:custGeom>
            <a:avLst/>
            <a:gdLst/>
            <a:ahLst/>
            <a:cxnLst/>
            <a:rect l="l" t="t" r="r" b="b"/>
            <a:pathLst>
              <a:path w="350520" h="350520">
                <a:moveTo>
                  <a:pt x="248411" y="347471"/>
                </a:moveTo>
                <a:lnTo>
                  <a:pt x="242315" y="344423"/>
                </a:lnTo>
                <a:lnTo>
                  <a:pt x="216407" y="324611"/>
                </a:lnTo>
                <a:lnTo>
                  <a:pt x="211835" y="321563"/>
                </a:lnTo>
                <a:lnTo>
                  <a:pt x="207263" y="312419"/>
                </a:lnTo>
                <a:lnTo>
                  <a:pt x="207263" y="289559"/>
                </a:lnTo>
                <a:lnTo>
                  <a:pt x="202691" y="284987"/>
                </a:lnTo>
                <a:lnTo>
                  <a:pt x="146303" y="284987"/>
                </a:lnTo>
                <a:lnTo>
                  <a:pt x="141731" y="289559"/>
                </a:lnTo>
                <a:lnTo>
                  <a:pt x="141731" y="312419"/>
                </a:lnTo>
                <a:lnTo>
                  <a:pt x="138683" y="321563"/>
                </a:lnTo>
                <a:lnTo>
                  <a:pt x="132587" y="324611"/>
                </a:lnTo>
                <a:lnTo>
                  <a:pt x="106679" y="344423"/>
                </a:lnTo>
                <a:lnTo>
                  <a:pt x="102107" y="347471"/>
                </a:lnTo>
                <a:lnTo>
                  <a:pt x="103631" y="350519"/>
                </a:lnTo>
                <a:lnTo>
                  <a:pt x="246887" y="350519"/>
                </a:lnTo>
                <a:lnTo>
                  <a:pt x="248411" y="347471"/>
                </a:lnTo>
                <a:close/>
              </a:path>
              <a:path w="350520" h="350520">
                <a:moveTo>
                  <a:pt x="350519" y="252983"/>
                </a:moveTo>
                <a:lnTo>
                  <a:pt x="350519" y="21335"/>
                </a:lnTo>
                <a:lnTo>
                  <a:pt x="348686" y="12858"/>
                </a:lnTo>
                <a:lnTo>
                  <a:pt x="343852" y="6095"/>
                </a:lnTo>
                <a:lnTo>
                  <a:pt x="337018" y="1619"/>
                </a:lnTo>
                <a:lnTo>
                  <a:pt x="329183" y="0"/>
                </a:lnTo>
                <a:lnTo>
                  <a:pt x="21335" y="0"/>
                </a:lnTo>
                <a:lnTo>
                  <a:pt x="12858" y="1619"/>
                </a:lnTo>
                <a:lnTo>
                  <a:pt x="6095" y="6095"/>
                </a:lnTo>
                <a:lnTo>
                  <a:pt x="1619" y="12858"/>
                </a:lnTo>
                <a:lnTo>
                  <a:pt x="0" y="21335"/>
                </a:lnTo>
                <a:lnTo>
                  <a:pt x="0" y="252983"/>
                </a:lnTo>
                <a:lnTo>
                  <a:pt x="1619" y="260818"/>
                </a:lnTo>
                <a:lnTo>
                  <a:pt x="6095" y="267652"/>
                </a:lnTo>
                <a:lnTo>
                  <a:pt x="12858" y="272486"/>
                </a:lnTo>
                <a:lnTo>
                  <a:pt x="21335" y="274319"/>
                </a:lnTo>
                <a:lnTo>
                  <a:pt x="21335" y="44195"/>
                </a:lnTo>
                <a:lnTo>
                  <a:pt x="23193" y="35480"/>
                </a:lnTo>
                <a:lnTo>
                  <a:pt x="28193" y="28193"/>
                </a:lnTo>
                <a:lnTo>
                  <a:pt x="35480" y="23193"/>
                </a:lnTo>
                <a:lnTo>
                  <a:pt x="44195" y="21335"/>
                </a:lnTo>
                <a:lnTo>
                  <a:pt x="306323" y="21335"/>
                </a:lnTo>
                <a:lnTo>
                  <a:pt x="315039" y="23193"/>
                </a:lnTo>
                <a:lnTo>
                  <a:pt x="322325" y="28193"/>
                </a:lnTo>
                <a:lnTo>
                  <a:pt x="327326" y="35480"/>
                </a:lnTo>
                <a:lnTo>
                  <a:pt x="329183" y="44195"/>
                </a:lnTo>
                <a:lnTo>
                  <a:pt x="329183" y="274319"/>
                </a:lnTo>
                <a:lnTo>
                  <a:pt x="337018" y="272486"/>
                </a:lnTo>
                <a:lnTo>
                  <a:pt x="343852" y="267652"/>
                </a:lnTo>
                <a:lnTo>
                  <a:pt x="348686" y="260818"/>
                </a:lnTo>
                <a:lnTo>
                  <a:pt x="350519" y="252983"/>
                </a:lnTo>
                <a:close/>
              </a:path>
              <a:path w="350520" h="350520">
                <a:moveTo>
                  <a:pt x="329183" y="274319"/>
                </a:moveTo>
                <a:lnTo>
                  <a:pt x="329183" y="196595"/>
                </a:lnTo>
                <a:lnTo>
                  <a:pt x="327326" y="205311"/>
                </a:lnTo>
                <a:lnTo>
                  <a:pt x="322325" y="212597"/>
                </a:lnTo>
                <a:lnTo>
                  <a:pt x="315039" y="217598"/>
                </a:lnTo>
                <a:lnTo>
                  <a:pt x="306323" y="219455"/>
                </a:lnTo>
                <a:lnTo>
                  <a:pt x="44195" y="219455"/>
                </a:lnTo>
                <a:lnTo>
                  <a:pt x="35480" y="217598"/>
                </a:lnTo>
                <a:lnTo>
                  <a:pt x="28193" y="212597"/>
                </a:lnTo>
                <a:lnTo>
                  <a:pt x="23193" y="205311"/>
                </a:lnTo>
                <a:lnTo>
                  <a:pt x="21335" y="196595"/>
                </a:lnTo>
                <a:lnTo>
                  <a:pt x="21335" y="274319"/>
                </a:lnTo>
                <a:lnTo>
                  <a:pt x="329183" y="274319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384" b="1" dirty="0">
              <a:latin typeface="+mn-lt"/>
            </a:endParaRPr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 Client Customer Insights Survey, April-May 2017 (McKinsey deployed)</a:t>
            </a:r>
          </a:p>
        </p:txBody>
      </p:sp>
    </p:spTree>
    <p:extLst>
      <p:ext uri="{BB962C8B-B14F-4D97-AF65-F5344CB8AC3E}">
        <p14:creationId xmlns:p14="http://schemas.microsoft.com/office/powerpoint/2010/main" val="2227396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52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427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12"/>
              </a:spcBef>
            </a:pPr>
            <a:r>
              <a:rPr spc="9" dirty="0">
                <a:latin typeface="+mn-lt"/>
              </a:rPr>
              <a:t>Summary </a:t>
            </a:r>
            <a:r>
              <a:rPr spc="4" dirty="0">
                <a:latin typeface="+mn-lt"/>
              </a:rPr>
              <a:t>diagnostic</a:t>
            </a:r>
            <a:r>
              <a:rPr spc="22" dirty="0">
                <a:latin typeface="+mn-lt"/>
              </a:rPr>
              <a:t> </a:t>
            </a:r>
            <a:r>
              <a:rPr spc="4" dirty="0">
                <a:latin typeface="+mn-lt"/>
              </a:rPr>
              <a:t>findings</a:t>
            </a:r>
          </a:p>
        </p:txBody>
      </p:sp>
      <p:sp>
        <p:nvSpPr>
          <p:cNvPr id="11" name="object 4"/>
          <p:cNvSpPr txBox="1">
            <a:spLocks/>
          </p:cNvSpPr>
          <p:nvPr/>
        </p:nvSpPr>
        <p:spPr bwMode="gray">
          <a:xfrm>
            <a:off x="1908513" y="1276693"/>
            <a:ext cx="8475133" cy="4706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R="471718">
              <a:lnSpc>
                <a:spcPct val="102400"/>
              </a:lnSpc>
              <a:spcBef>
                <a:spcPts val="69"/>
              </a:spcBef>
              <a:spcAft>
                <a:spcPts val="600"/>
              </a:spcAft>
              <a:tabLst>
                <a:tab pos="515938" algn="l"/>
              </a:tabLst>
            </a:pPr>
            <a:r>
              <a:rPr lang="en-US" sz="1800" b="1" kern="0" spc="13" dirty="0" smtClean="0">
                <a:solidFill>
                  <a:schemeClr val="accent4"/>
                </a:solidFill>
              </a:rPr>
              <a:t>A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portion of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the </a:t>
            </a:r>
            <a:r>
              <a:rPr lang="en-US" sz="1800" b="1" kern="0" spc="13" dirty="0" smtClean="0">
                <a:solidFill>
                  <a:schemeClr val="accent4"/>
                </a:solidFill>
              </a:rPr>
              <a:t>SMB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market is addressable </a:t>
            </a:r>
            <a:r>
              <a:rPr lang="en-US" sz="1800" kern="0" dirty="0" smtClean="0"/>
              <a:t>with </a:t>
            </a:r>
            <a:r>
              <a:rPr lang="en-US" sz="1800" kern="0" spc="4" dirty="0" smtClean="0"/>
              <a:t>current products, </a:t>
            </a:r>
            <a:r>
              <a:rPr lang="en-US" sz="1800" kern="0" spc="9" dirty="0" smtClean="0"/>
              <a:t>and an </a:t>
            </a:r>
            <a:r>
              <a:rPr lang="en-US" sz="1800" kern="0" spc="4" dirty="0" smtClean="0"/>
              <a:t>additional  portion </a:t>
            </a:r>
            <a:r>
              <a:rPr lang="en-US" sz="1800" kern="0" dirty="0" smtClean="0"/>
              <a:t>is </a:t>
            </a:r>
            <a:r>
              <a:rPr lang="en-US" sz="1800" kern="0" spc="4" dirty="0" smtClean="0"/>
              <a:t>accessible </a:t>
            </a:r>
            <a:r>
              <a:rPr lang="en-US" sz="1800" kern="0" dirty="0" smtClean="0"/>
              <a:t>with </a:t>
            </a:r>
            <a:r>
              <a:rPr lang="en-US" sz="1800" kern="0" spc="4" dirty="0" smtClean="0"/>
              <a:t>near-term </a:t>
            </a:r>
            <a:r>
              <a:rPr lang="en-US" sz="1800" kern="0" dirty="0" smtClean="0"/>
              <a:t>offer</a:t>
            </a:r>
            <a:r>
              <a:rPr lang="en-US" sz="1800" kern="0" spc="22" dirty="0" smtClean="0"/>
              <a:t> </a:t>
            </a:r>
            <a:r>
              <a:rPr lang="en-US" sz="1800" kern="0" spc="9" dirty="0" smtClean="0"/>
              <a:t>development</a:t>
            </a:r>
          </a:p>
          <a:p>
            <a:pPr marR="135640">
              <a:lnSpc>
                <a:spcPct val="102400"/>
              </a:lnSpc>
              <a:spcBef>
                <a:spcPts val="856"/>
              </a:spcBef>
              <a:spcAft>
                <a:spcPts val="600"/>
              </a:spcAft>
            </a:pPr>
            <a:r>
              <a:rPr lang="en-US" sz="1800" kern="0" spc="4" dirty="0" smtClean="0"/>
              <a:t>Client’ sales funnel conversion rates are best practice;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adding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more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leads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to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the top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of 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the funnel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is critical </a:t>
            </a:r>
            <a:r>
              <a:rPr lang="en-US" sz="1800" kern="0" spc="4" dirty="0" smtClean="0"/>
              <a:t>(rather than incremental </a:t>
            </a:r>
            <a:r>
              <a:rPr lang="en-US" sz="1800" kern="0" spc="9" dirty="0" smtClean="0"/>
              <a:t>improvements </a:t>
            </a:r>
            <a:r>
              <a:rPr lang="en-US" sz="1800" kern="0" spc="4" dirty="0" smtClean="0"/>
              <a:t>throughout the</a:t>
            </a:r>
            <a:r>
              <a:rPr lang="en-US" sz="1800" kern="0" spc="-78" dirty="0" smtClean="0"/>
              <a:t> </a:t>
            </a:r>
            <a:r>
              <a:rPr lang="en-US" sz="1800" kern="0" spc="4" dirty="0" smtClean="0"/>
              <a:t>funnel)</a:t>
            </a:r>
          </a:p>
          <a:p>
            <a:pPr marR="135640">
              <a:lnSpc>
                <a:spcPct val="101800"/>
              </a:lnSpc>
              <a:spcBef>
                <a:spcPts val="869"/>
              </a:spcBef>
              <a:spcAft>
                <a:spcPts val="600"/>
              </a:spcAft>
            </a:pPr>
            <a:r>
              <a:rPr lang="en-US" sz="1800" b="1" kern="0" spc="9" dirty="0" smtClean="0">
                <a:solidFill>
                  <a:schemeClr val="accent4"/>
                </a:solidFill>
              </a:rPr>
              <a:t>Client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digital marketing </a:t>
            </a:r>
            <a:r>
              <a:rPr lang="en-US" sz="1800" b="1" kern="0" spc="13" dirty="0" smtClean="0">
                <a:solidFill>
                  <a:schemeClr val="accent4"/>
                </a:solidFill>
              </a:rPr>
              <a:t>&amp;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lead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generation capabilities are </a:t>
            </a:r>
            <a:r>
              <a:rPr lang="en-US" sz="1800" b="1" kern="0" spc="13" dirty="0" smtClean="0">
                <a:solidFill>
                  <a:schemeClr val="accent4"/>
                </a:solidFill>
              </a:rPr>
              <a:t>weak </a:t>
            </a:r>
            <a:r>
              <a:rPr lang="en-US" sz="1800" kern="0" dirty="0" smtClean="0"/>
              <a:t>in </a:t>
            </a:r>
            <a:r>
              <a:rPr lang="en-US" sz="1800" kern="0" spc="4" dirty="0" smtClean="0"/>
              <a:t>the </a:t>
            </a:r>
            <a:r>
              <a:rPr lang="en-US" sz="1800" kern="0" spc="13" dirty="0" smtClean="0"/>
              <a:t>SMB </a:t>
            </a:r>
            <a:r>
              <a:rPr lang="en-US" sz="1800" kern="0" spc="9" dirty="0" smtClean="0"/>
              <a:t>segment,  </a:t>
            </a:r>
            <a:r>
              <a:rPr lang="en-US" sz="1800" kern="0" spc="4" dirty="0" smtClean="0"/>
              <a:t>although </a:t>
            </a:r>
            <a:r>
              <a:rPr lang="en-US" sz="1800" kern="0" spc="13" dirty="0" smtClean="0"/>
              <a:t>SMB </a:t>
            </a:r>
            <a:r>
              <a:rPr lang="en-US" sz="1800" kern="0" spc="9" dirty="0" smtClean="0"/>
              <a:t>customers </a:t>
            </a:r>
            <a:r>
              <a:rPr lang="en-US" sz="1800" kern="0" spc="4" dirty="0" smtClean="0"/>
              <a:t>are increasingly turning to online </a:t>
            </a:r>
            <a:r>
              <a:rPr lang="en-US" sz="1800" kern="0" spc="13" dirty="0" smtClean="0"/>
              <a:t>&amp; </a:t>
            </a:r>
            <a:r>
              <a:rPr lang="en-US" sz="1800" kern="0" spc="4" dirty="0" smtClean="0"/>
              <a:t>“remote</a:t>
            </a:r>
            <a:r>
              <a:rPr lang="en-US" sz="1800" kern="0" spc="-30" dirty="0" smtClean="0"/>
              <a:t> </a:t>
            </a:r>
            <a:r>
              <a:rPr lang="en-US" sz="1800" kern="0" spc="4" dirty="0" smtClean="0"/>
              <a:t>sales”(e.g., </a:t>
            </a:r>
            <a:r>
              <a:rPr lang="en-US" sz="1800" kern="0" dirty="0" smtClean="0"/>
              <a:t>web, </a:t>
            </a:r>
            <a:r>
              <a:rPr lang="en-US" sz="1800" kern="0" spc="4" dirty="0" smtClean="0"/>
              <a:t>chat) to</a:t>
            </a:r>
            <a:r>
              <a:rPr lang="en-US" sz="1800" kern="0" spc="-56" dirty="0" smtClean="0"/>
              <a:t> </a:t>
            </a:r>
            <a:r>
              <a:rPr lang="en-US" sz="1800" kern="0" spc="9" dirty="0" smtClean="0"/>
              <a:t>buy</a:t>
            </a:r>
          </a:p>
          <a:p>
            <a:pPr marR="216364">
              <a:lnSpc>
                <a:spcPct val="102400"/>
              </a:lnSpc>
              <a:spcBef>
                <a:spcPts val="856"/>
              </a:spcBef>
              <a:spcAft>
                <a:spcPts val="600"/>
              </a:spcAft>
            </a:pPr>
            <a:r>
              <a:rPr lang="en-US" sz="1800" kern="0" spc="4" dirty="0" smtClean="0"/>
              <a:t>Commercial capabilities for </a:t>
            </a:r>
            <a:r>
              <a:rPr lang="en-US" sz="1800" kern="0" spc="13" dirty="0" smtClean="0"/>
              <a:t>SMB </a:t>
            </a:r>
            <a:r>
              <a:rPr lang="en-US" sz="1800" kern="0" spc="4" dirty="0" smtClean="0"/>
              <a:t>lags enterprise, </a:t>
            </a:r>
            <a:r>
              <a:rPr lang="en-US" sz="1800" kern="0" spc="9" dirty="0" smtClean="0"/>
              <a:t>and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most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roles, tools </a:t>
            </a:r>
            <a:r>
              <a:rPr lang="en-US" sz="1800" b="1" kern="0" spc="13" dirty="0" smtClean="0">
                <a:solidFill>
                  <a:schemeClr val="accent4"/>
                </a:solidFill>
              </a:rPr>
              <a:t>&amp;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processes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are 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designed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for enterprise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and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force-fit to</a:t>
            </a:r>
            <a:r>
              <a:rPr lang="en-US" sz="1800" b="1" kern="0" spc="-61" dirty="0" smtClean="0">
                <a:solidFill>
                  <a:schemeClr val="accent4"/>
                </a:solidFill>
              </a:rPr>
              <a:t> </a:t>
            </a:r>
            <a:r>
              <a:rPr lang="en-US" sz="1800" b="1" kern="0" spc="13" dirty="0" smtClean="0">
                <a:solidFill>
                  <a:schemeClr val="accent4"/>
                </a:solidFill>
              </a:rPr>
              <a:t>SMB</a:t>
            </a:r>
          </a:p>
          <a:p>
            <a:pPr marR="4393">
              <a:lnSpc>
                <a:spcPct val="102099"/>
              </a:lnSpc>
              <a:spcBef>
                <a:spcPts val="865"/>
              </a:spcBef>
              <a:spcAft>
                <a:spcPts val="600"/>
              </a:spcAft>
            </a:pPr>
            <a:r>
              <a:rPr lang="en-US" sz="1800" kern="0" spc="4" dirty="0" smtClean="0"/>
              <a:t>Sales </a:t>
            </a:r>
            <a:r>
              <a:rPr lang="en-US" sz="1800" kern="0" spc="9" dirty="0" smtClean="0"/>
              <a:t>ROI </a:t>
            </a:r>
            <a:r>
              <a:rPr lang="en-US" sz="1800" kern="0" dirty="0" smtClean="0"/>
              <a:t>is </a:t>
            </a:r>
            <a:r>
              <a:rPr lang="en-US" sz="1800" kern="0" spc="4" dirty="0" smtClean="0"/>
              <a:t>generally </a:t>
            </a:r>
            <a:r>
              <a:rPr lang="en-US" sz="1800" kern="0" dirty="0" smtClean="0"/>
              <a:t>efficient, </a:t>
            </a:r>
            <a:r>
              <a:rPr lang="en-US" sz="1800" kern="0" spc="9" dirty="0" smtClean="0"/>
              <a:t>and </a:t>
            </a:r>
            <a:r>
              <a:rPr lang="en-US" sz="1800" b="1" kern="0" spc="13" dirty="0" smtClean="0">
                <a:solidFill>
                  <a:schemeClr val="accent4"/>
                </a:solidFill>
              </a:rPr>
              <a:t>SMB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is more efficient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than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organization </a:t>
            </a:r>
            <a:r>
              <a:rPr lang="en-US" sz="1800" b="1" kern="0" spc="9" dirty="0" smtClean="0">
                <a:solidFill>
                  <a:schemeClr val="accent4"/>
                </a:solidFill>
              </a:rPr>
              <a:t>as a whole</a:t>
            </a:r>
            <a:r>
              <a:rPr lang="en-US" sz="1800" kern="0" spc="9" dirty="0" smtClean="0"/>
              <a:t>. Coverage </a:t>
            </a:r>
            <a:r>
              <a:rPr lang="en-US" sz="1800" kern="0" spc="4" dirty="0" smtClean="0"/>
              <a:t>ratios indicate </a:t>
            </a:r>
            <a:r>
              <a:rPr lang="en-US" sz="1800" kern="0" spc="9" dirty="0" smtClean="0"/>
              <a:t>an </a:t>
            </a:r>
            <a:r>
              <a:rPr lang="en-US" sz="1800" kern="0" spc="4" dirty="0" smtClean="0"/>
              <a:t>opportunity to </a:t>
            </a:r>
            <a:r>
              <a:rPr lang="en-US" sz="1800" kern="0" spc="9" dirty="0" smtClean="0"/>
              <a:t>grow </a:t>
            </a:r>
            <a:r>
              <a:rPr lang="en-US" sz="1800" kern="0" spc="4" dirty="0" smtClean="0"/>
              <a:t>the frontline sales </a:t>
            </a:r>
            <a:r>
              <a:rPr lang="en-US" sz="1800" kern="0" spc="9" dirty="0" smtClean="0"/>
              <a:t>team </a:t>
            </a:r>
            <a:r>
              <a:rPr lang="en-US" sz="1800" kern="0" spc="4" dirty="0" smtClean="0"/>
              <a:t>at faster </a:t>
            </a:r>
            <a:r>
              <a:rPr lang="en-US" sz="1800" kern="0" spc="9" dirty="0" smtClean="0"/>
              <a:t>pace </a:t>
            </a:r>
            <a:r>
              <a:rPr lang="en-US" sz="1800" kern="0" spc="4" dirty="0" smtClean="0"/>
              <a:t>than  support, </a:t>
            </a:r>
            <a:r>
              <a:rPr lang="en-US" sz="1800" kern="0" spc="9" dirty="0" smtClean="0"/>
              <a:t>and </a:t>
            </a:r>
            <a:r>
              <a:rPr lang="en-US" sz="1800" kern="0" spc="4" dirty="0" smtClean="0"/>
              <a:t>to </a:t>
            </a:r>
            <a:r>
              <a:rPr lang="en-US" sz="1800" kern="0" spc="9" dirty="0" smtClean="0"/>
              <a:t>reduce </a:t>
            </a:r>
            <a:r>
              <a:rPr lang="en-US" sz="1800" kern="0" spc="4" dirty="0" smtClean="0"/>
              <a:t>overall cost of sales through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additional investments in inside</a:t>
            </a:r>
            <a:r>
              <a:rPr lang="en-US" sz="1800" b="1" kern="0" spc="43" dirty="0" smtClean="0">
                <a:solidFill>
                  <a:schemeClr val="accent4"/>
                </a:solidFill>
              </a:rPr>
              <a:t> </a:t>
            </a:r>
            <a:r>
              <a:rPr lang="en-US" sz="1800" b="1" kern="0" spc="4" dirty="0" smtClean="0">
                <a:solidFill>
                  <a:schemeClr val="accent4"/>
                </a:solidFill>
              </a:rPr>
              <a:t>sales</a:t>
            </a:r>
            <a:endParaRPr lang="en-US" sz="1800" b="1" kern="0" spc="4" dirty="0">
              <a:solidFill>
                <a:schemeClr val="accent4"/>
              </a:solidFill>
            </a:endParaRPr>
          </a:p>
        </p:txBody>
      </p:sp>
      <p:sp>
        <p:nvSpPr>
          <p:cNvPr id="12" name="object 3"/>
          <p:cNvSpPr txBox="1"/>
          <p:nvPr/>
        </p:nvSpPr>
        <p:spPr>
          <a:xfrm>
            <a:off x="1425763" y="1123778"/>
            <a:ext cx="271824" cy="556926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26359" marR="17024" indent="-2746" algn="just">
              <a:lnSpc>
                <a:spcPct val="137300"/>
              </a:lnSpc>
              <a:spcBef>
                <a:spcPts val="78"/>
              </a:spcBef>
            </a:pPr>
            <a:r>
              <a:rPr sz="2594" b="1" spc="9" dirty="0" smtClean="0">
                <a:solidFill>
                  <a:schemeClr val="accent4"/>
                </a:solidFill>
                <a:latin typeface="+mn-lt"/>
                <a:cs typeface="Georgia"/>
              </a:rPr>
              <a:t>A</a:t>
            </a:r>
            <a:endParaRPr sz="2594" b="1" dirty="0">
              <a:solidFill>
                <a:schemeClr val="accent4"/>
              </a:solidFill>
              <a:latin typeface="+mn-lt"/>
              <a:cs typeface="Georgia"/>
            </a:endParaRPr>
          </a:p>
        </p:txBody>
      </p:sp>
      <p:sp>
        <p:nvSpPr>
          <p:cNvPr id="13" name="object 3"/>
          <p:cNvSpPr txBox="1"/>
          <p:nvPr/>
        </p:nvSpPr>
        <p:spPr>
          <a:xfrm>
            <a:off x="1425763" y="1863412"/>
            <a:ext cx="271824" cy="556926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26359" marR="17024" indent="-2746" algn="just">
              <a:lnSpc>
                <a:spcPct val="137300"/>
              </a:lnSpc>
              <a:spcBef>
                <a:spcPts val="78"/>
              </a:spcBef>
            </a:pPr>
            <a:r>
              <a:rPr lang="en-US" sz="2594" b="1" spc="9" dirty="0" smtClean="0">
                <a:solidFill>
                  <a:schemeClr val="accent4"/>
                </a:solidFill>
                <a:latin typeface="+mn-lt"/>
                <a:cs typeface="Georgia"/>
              </a:rPr>
              <a:t>B</a:t>
            </a:r>
            <a:endParaRPr sz="2594" b="1" dirty="0">
              <a:solidFill>
                <a:schemeClr val="accent4"/>
              </a:solidFill>
              <a:latin typeface="+mn-lt"/>
              <a:cs typeface="Georgia"/>
            </a:endParaRPr>
          </a:p>
        </p:txBody>
      </p:sp>
      <p:sp>
        <p:nvSpPr>
          <p:cNvPr id="14" name="object 3"/>
          <p:cNvSpPr txBox="1"/>
          <p:nvPr/>
        </p:nvSpPr>
        <p:spPr>
          <a:xfrm>
            <a:off x="1425763" y="2881289"/>
            <a:ext cx="271824" cy="556926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26359" marR="17024" indent="-2746" algn="just">
              <a:lnSpc>
                <a:spcPct val="137300"/>
              </a:lnSpc>
              <a:spcBef>
                <a:spcPts val="78"/>
              </a:spcBef>
            </a:pPr>
            <a:r>
              <a:rPr lang="en-US" sz="2594" b="1" spc="9" dirty="0" smtClean="0">
                <a:solidFill>
                  <a:schemeClr val="accent4"/>
                </a:solidFill>
                <a:latin typeface="+mn-lt"/>
                <a:cs typeface="Georgia"/>
              </a:rPr>
              <a:t>C</a:t>
            </a:r>
            <a:endParaRPr sz="2594" b="1" dirty="0">
              <a:solidFill>
                <a:schemeClr val="accent4"/>
              </a:solidFill>
              <a:latin typeface="+mn-lt"/>
              <a:cs typeface="Georgia"/>
            </a:endParaRPr>
          </a:p>
        </p:txBody>
      </p:sp>
      <p:sp>
        <p:nvSpPr>
          <p:cNvPr id="15" name="object 3"/>
          <p:cNvSpPr txBox="1"/>
          <p:nvPr/>
        </p:nvSpPr>
        <p:spPr>
          <a:xfrm>
            <a:off x="1425763" y="3910000"/>
            <a:ext cx="271824" cy="556926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26359" marR="17024" indent="-2746" algn="just">
              <a:lnSpc>
                <a:spcPct val="137300"/>
              </a:lnSpc>
              <a:spcBef>
                <a:spcPts val="78"/>
              </a:spcBef>
            </a:pPr>
            <a:r>
              <a:rPr lang="en-US" sz="2594" b="1" spc="9" dirty="0" smtClean="0">
                <a:solidFill>
                  <a:schemeClr val="accent4"/>
                </a:solidFill>
                <a:latin typeface="+mn-lt"/>
                <a:cs typeface="Georgia"/>
              </a:rPr>
              <a:t>D</a:t>
            </a:r>
            <a:endParaRPr sz="2594" b="1" dirty="0">
              <a:solidFill>
                <a:schemeClr val="accent4"/>
              </a:solidFill>
              <a:latin typeface="+mn-lt"/>
              <a:cs typeface="Georgia"/>
            </a:endParaRPr>
          </a:p>
        </p:txBody>
      </p:sp>
      <p:sp>
        <p:nvSpPr>
          <p:cNvPr id="16" name="object 3"/>
          <p:cNvSpPr txBox="1"/>
          <p:nvPr/>
        </p:nvSpPr>
        <p:spPr>
          <a:xfrm>
            <a:off x="1425763" y="4684665"/>
            <a:ext cx="271824" cy="556926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26359" marR="17024" indent="-2746" algn="just">
              <a:lnSpc>
                <a:spcPct val="137300"/>
              </a:lnSpc>
              <a:spcBef>
                <a:spcPts val="78"/>
              </a:spcBef>
            </a:pPr>
            <a:r>
              <a:rPr lang="en-US" sz="2594" b="1" spc="9" dirty="0" smtClean="0">
                <a:solidFill>
                  <a:schemeClr val="accent4"/>
                </a:solidFill>
                <a:latin typeface="+mn-lt"/>
                <a:cs typeface="Georgia"/>
              </a:rPr>
              <a:t>E</a:t>
            </a:r>
            <a:endParaRPr sz="2594" b="1" dirty="0">
              <a:solidFill>
                <a:schemeClr val="accent4"/>
              </a:solidFill>
              <a:latin typeface="+mn-lt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358480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" name="Object 20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97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4278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12"/>
              </a:spcBef>
            </a:pPr>
            <a:r>
              <a:rPr spc="9" dirty="0">
                <a:latin typeface="+mn-lt"/>
              </a:rPr>
              <a:t>Summary </a:t>
            </a:r>
            <a:r>
              <a:rPr spc="4" dirty="0">
                <a:latin typeface="+mn-lt"/>
              </a:rPr>
              <a:t>of</a:t>
            </a:r>
            <a:r>
              <a:rPr spc="-22" dirty="0">
                <a:latin typeface="+mn-lt"/>
              </a:rPr>
              <a:t> </a:t>
            </a:r>
            <a:r>
              <a:rPr spc="9" dirty="0">
                <a:latin typeface="+mn-lt"/>
              </a:rPr>
              <a:t>recommendations</a:t>
            </a:r>
          </a:p>
        </p:txBody>
      </p:sp>
      <p:sp>
        <p:nvSpPr>
          <p:cNvPr id="3" name="object 3"/>
          <p:cNvSpPr/>
          <p:nvPr/>
        </p:nvSpPr>
        <p:spPr>
          <a:xfrm>
            <a:off x="546859" y="1441494"/>
            <a:ext cx="10934803" cy="485793"/>
          </a:xfrm>
          <a:custGeom>
            <a:avLst/>
            <a:gdLst/>
            <a:ahLst/>
            <a:cxnLst/>
            <a:rect l="l" t="t" r="r" b="b"/>
            <a:pathLst>
              <a:path w="8999855" h="455930">
                <a:moveTo>
                  <a:pt x="8999225" y="451103"/>
                </a:moveTo>
                <a:lnTo>
                  <a:pt x="8999225" y="3047"/>
                </a:lnTo>
                <a:lnTo>
                  <a:pt x="8996177" y="0"/>
                </a:lnTo>
                <a:lnTo>
                  <a:pt x="3047" y="0"/>
                </a:lnTo>
                <a:lnTo>
                  <a:pt x="0" y="3047"/>
                </a:lnTo>
                <a:lnTo>
                  <a:pt x="0" y="451103"/>
                </a:lnTo>
                <a:lnTo>
                  <a:pt x="3047" y="455675"/>
                </a:lnTo>
                <a:lnTo>
                  <a:pt x="7619" y="455675"/>
                </a:lnTo>
                <a:lnTo>
                  <a:pt x="7619" y="15239"/>
                </a:lnTo>
                <a:lnTo>
                  <a:pt x="15239" y="7619"/>
                </a:lnTo>
                <a:lnTo>
                  <a:pt x="15239" y="15239"/>
                </a:lnTo>
                <a:lnTo>
                  <a:pt x="8982461" y="15239"/>
                </a:lnTo>
                <a:lnTo>
                  <a:pt x="8982461" y="7619"/>
                </a:lnTo>
                <a:lnTo>
                  <a:pt x="8991605" y="15239"/>
                </a:lnTo>
                <a:lnTo>
                  <a:pt x="8991605" y="455675"/>
                </a:lnTo>
                <a:lnTo>
                  <a:pt x="8996177" y="455675"/>
                </a:lnTo>
                <a:lnTo>
                  <a:pt x="8999225" y="451103"/>
                </a:lnTo>
                <a:close/>
              </a:path>
              <a:path w="8999855" h="455930">
                <a:moveTo>
                  <a:pt x="15239" y="15239"/>
                </a:moveTo>
                <a:lnTo>
                  <a:pt x="15239" y="7619"/>
                </a:lnTo>
                <a:lnTo>
                  <a:pt x="7619" y="15239"/>
                </a:lnTo>
                <a:lnTo>
                  <a:pt x="15239" y="15239"/>
                </a:lnTo>
                <a:close/>
              </a:path>
              <a:path w="8999855" h="455930">
                <a:moveTo>
                  <a:pt x="15239" y="438911"/>
                </a:moveTo>
                <a:lnTo>
                  <a:pt x="15239" y="15239"/>
                </a:lnTo>
                <a:lnTo>
                  <a:pt x="7619" y="15239"/>
                </a:lnTo>
                <a:lnTo>
                  <a:pt x="7619" y="438911"/>
                </a:lnTo>
                <a:lnTo>
                  <a:pt x="15239" y="438911"/>
                </a:lnTo>
                <a:close/>
              </a:path>
              <a:path w="8999855" h="455930">
                <a:moveTo>
                  <a:pt x="8991605" y="438911"/>
                </a:moveTo>
                <a:lnTo>
                  <a:pt x="7619" y="438911"/>
                </a:lnTo>
                <a:lnTo>
                  <a:pt x="15239" y="446531"/>
                </a:lnTo>
                <a:lnTo>
                  <a:pt x="15239" y="455675"/>
                </a:lnTo>
                <a:lnTo>
                  <a:pt x="8982461" y="455675"/>
                </a:lnTo>
                <a:lnTo>
                  <a:pt x="8982461" y="446531"/>
                </a:lnTo>
                <a:lnTo>
                  <a:pt x="8991605" y="438911"/>
                </a:lnTo>
                <a:close/>
              </a:path>
              <a:path w="8999855" h="455930">
                <a:moveTo>
                  <a:pt x="15239" y="455675"/>
                </a:moveTo>
                <a:lnTo>
                  <a:pt x="15239" y="446531"/>
                </a:lnTo>
                <a:lnTo>
                  <a:pt x="7619" y="438911"/>
                </a:lnTo>
                <a:lnTo>
                  <a:pt x="7619" y="455675"/>
                </a:lnTo>
                <a:lnTo>
                  <a:pt x="15239" y="455675"/>
                </a:lnTo>
                <a:close/>
              </a:path>
              <a:path w="8999855" h="455930">
                <a:moveTo>
                  <a:pt x="8991605" y="15239"/>
                </a:moveTo>
                <a:lnTo>
                  <a:pt x="8982461" y="7619"/>
                </a:lnTo>
                <a:lnTo>
                  <a:pt x="8982461" y="15239"/>
                </a:lnTo>
                <a:lnTo>
                  <a:pt x="8991605" y="15239"/>
                </a:lnTo>
                <a:close/>
              </a:path>
              <a:path w="8999855" h="455930">
                <a:moveTo>
                  <a:pt x="8991605" y="438911"/>
                </a:moveTo>
                <a:lnTo>
                  <a:pt x="8991605" y="15239"/>
                </a:lnTo>
                <a:lnTo>
                  <a:pt x="8982461" y="15239"/>
                </a:lnTo>
                <a:lnTo>
                  <a:pt x="8982461" y="438911"/>
                </a:lnTo>
                <a:lnTo>
                  <a:pt x="8991605" y="438911"/>
                </a:lnTo>
                <a:close/>
              </a:path>
              <a:path w="8999855" h="455930">
                <a:moveTo>
                  <a:pt x="8991605" y="455675"/>
                </a:moveTo>
                <a:lnTo>
                  <a:pt x="8991605" y="438911"/>
                </a:lnTo>
                <a:lnTo>
                  <a:pt x="8982461" y="446531"/>
                </a:lnTo>
                <a:lnTo>
                  <a:pt x="8982461" y="455675"/>
                </a:lnTo>
                <a:lnTo>
                  <a:pt x="8991605" y="4556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" name="object 4"/>
          <p:cNvSpPr txBox="1"/>
          <p:nvPr/>
        </p:nvSpPr>
        <p:spPr>
          <a:xfrm>
            <a:off x="556118" y="1449781"/>
            <a:ext cx="10915514" cy="350865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0" tIns="36576" rIns="0" bIns="36576" rtlCol="0" anchor="ctr">
            <a:spAutoFit/>
          </a:bodyPr>
          <a:lstStyle/>
          <a:p>
            <a:pPr algn="ctr">
              <a:spcBef>
                <a:spcPts val="510"/>
              </a:spcBef>
            </a:pPr>
            <a:r>
              <a:rPr sz="1800" b="1" spc="9" dirty="0">
                <a:solidFill>
                  <a:srgbClr val="FFFFFF"/>
                </a:solidFill>
                <a:latin typeface="Arial"/>
                <a:cs typeface="Arial"/>
              </a:rPr>
              <a:t>Customer </a:t>
            </a:r>
            <a:r>
              <a:rPr sz="1800" b="1" spc="4" dirty="0">
                <a:solidFill>
                  <a:srgbClr val="FFFFFF"/>
                </a:solidFill>
                <a:latin typeface="Arial"/>
                <a:cs typeface="Arial"/>
              </a:rPr>
              <a:t>acquisition</a:t>
            </a:r>
            <a:r>
              <a:rPr sz="1800" b="1" spc="-52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spc="4" dirty="0">
                <a:solidFill>
                  <a:srgbClr val="FFFFFF"/>
                </a:solidFill>
                <a:latin typeface="Arial"/>
                <a:cs typeface="Arial"/>
              </a:rPr>
              <a:t>funnel</a:t>
            </a:r>
            <a:endParaRPr sz="1800" b="1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42473" y="2186286"/>
            <a:ext cx="9407186" cy="291415"/>
          </a:xfrm>
          <a:prstGeom prst="rect">
            <a:avLst/>
          </a:prstGeom>
        </p:spPr>
        <p:txBody>
          <a:bodyPr vert="horz" wrap="square" lIns="0" tIns="14278" rIns="0" bIns="0" rtlCol="0">
            <a:spAutoFit/>
          </a:bodyPr>
          <a:lstStyle/>
          <a:p>
            <a:pPr marL="10983">
              <a:spcBef>
                <a:spcPts val="112"/>
              </a:spcBef>
              <a:tabLst>
                <a:tab pos="3626023" algn="l"/>
              </a:tabLst>
            </a:pP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Create</a:t>
            </a:r>
            <a:r>
              <a:rPr sz="1800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13" dirty="0">
                <a:solidFill>
                  <a:srgbClr val="3D3C3F"/>
                </a:solidFill>
                <a:latin typeface="Arial"/>
                <a:cs typeface="Arial"/>
              </a:rPr>
              <a:t>SMB</a:t>
            </a:r>
            <a:r>
              <a:rPr sz="1800" spc="22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focus	</a:t>
            </a:r>
            <a:r>
              <a:rPr lang="en-US" sz="1800" spc="4" dirty="0" smtClean="0">
                <a:solidFill>
                  <a:srgbClr val="3D3C3F"/>
                </a:solidFill>
                <a:latin typeface="Arial"/>
                <a:cs typeface="Arial"/>
              </a:rPr>
              <a:t>		        </a:t>
            </a:r>
            <a:r>
              <a:rPr sz="1800" spc="9" dirty="0" smtClean="0">
                <a:solidFill>
                  <a:srgbClr val="3D3C3F"/>
                </a:solidFill>
                <a:latin typeface="Arial"/>
                <a:cs typeface="Arial"/>
              </a:rPr>
              <a:t>Form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dedicated </a:t>
            </a:r>
            <a:r>
              <a:rPr sz="1800" spc="13" dirty="0">
                <a:solidFill>
                  <a:srgbClr val="3D3C3F"/>
                </a:solidFill>
                <a:latin typeface="Arial"/>
                <a:cs typeface="Arial"/>
              </a:rPr>
              <a:t>SMB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marketing</a:t>
            </a:r>
            <a:r>
              <a:rPr sz="1800" spc="-39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team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321564" y="2670182"/>
            <a:ext cx="3911624" cy="856966"/>
          </a:xfrm>
          <a:prstGeom prst="rect">
            <a:avLst/>
          </a:prstGeom>
        </p:spPr>
        <p:txBody>
          <a:bodyPr vert="horz" wrap="square" lIns="0" tIns="9335" rIns="0" bIns="0" rtlCol="0">
            <a:spAutoFit/>
          </a:bodyPr>
          <a:lstStyle/>
          <a:p>
            <a:pPr marL="10983" marR="4393">
              <a:lnSpc>
                <a:spcPct val="102099"/>
              </a:lnSpc>
              <a:spcBef>
                <a:spcPts val="74"/>
              </a:spcBef>
            </a:pP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Increase </a:t>
            </a:r>
            <a:r>
              <a:rPr sz="1800" spc="13" dirty="0">
                <a:solidFill>
                  <a:srgbClr val="3D3C3F"/>
                </a:solidFill>
                <a:latin typeface="Arial"/>
                <a:cs typeface="Arial"/>
              </a:rPr>
              <a:t>SMB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marketing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program  spend </a:t>
            </a:r>
            <a:r>
              <a:rPr sz="1800" spc="13" dirty="0">
                <a:solidFill>
                  <a:srgbClr val="3D3C3F"/>
                </a:solidFill>
                <a:latin typeface="Arial"/>
                <a:cs typeface="Arial"/>
              </a:rPr>
              <a:t>w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major focus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on 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personalized</a:t>
            </a:r>
            <a:r>
              <a:rPr sz="1800" spc="-9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marketing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642429" y="2834187"/>
            <a:ext cx="3334525" cy="573898"/>
          </a:xfrm>
          <a:prstGeom prst="rect">
            <a:avLst/>
          </a:prstGeom>
        </p:spPr>
        <p:txBody>
          <a:bodyPr vert="horz" wrap="square" lIns="0" tIns="8786" rIns="0" bIns="0" rtlCol="0">
            <a:spAutoFit/>
          </a:bodyPr>
          <a:lstStyle/>
          <a:p>
            <a:pPr marL="10983" marR="4393">
              <a:lnSpc>
                <a:spcPct val="102400"/>
              </a:lnSpc>
              <a:spcBef>
                <a:spcPts val="69"/>
              </a:spcBef>
            </a:pP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Increase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demand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generation  thru</a:t>
            </a:r>
            <a:r>
              <a:rPr sz="1800" spc="-56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3D3C3F"/>
                </a:solidFill>
                <a:latin typeface="Arial"/>
                <a:cs typeface="Arial"/>
              </a:rPr>
              <a:t>digital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321564" y="3654215"/>
            <a:ext cx="3134700" cy="573898"/>
          </a:xfrm>
          <a:prstGeom prst="rect">
            <a:avLst/>
          </a:prstGeom>
        </p:spPr>
        <p:txBody>
          <a:bodyPr vert="horz" wrap="square" lIns="0" tIns="8786" rIns="0" bIns="0" rtlCol="0">
            <a:spAutoFit/>
          </a:bodyPr>
          <a:lstStyle/>
          <a:p>
            <a:pPr marL="10983" marR="4393">
              <a:lnSpc>
                <a:spcPct val="102400"/>
              </a:lnSpc>
              <a:spcBef>
                <a:spcPts val="69"/>
              </a:spcBef>
            </a:pP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Re-engineer lead </a:t>
            </a:r>
            <a:r>
              <a:rPr sz="1800" dirty="0">
                <a:solidFill>
                  <a:srgbClr val="3D3C3F"/>
                </a:solidFill>
                <a:latin typeface="Arial"/>
                <a:cs typeface="Arial"/>
              </a:rPr>
              <a:t>flow;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add  LDR</a:t>
            </a:r>
            <a:r>
              <a:rPr sz="1800" spc="-43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capacity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025723" y="3663959"/>
            <a:ext cx="3564438" cy="573898"/>
          </a:xfrm>
          <a:prstGeom prst="rect">
            <a:avLst/>
          </a:prstGeom>
        </p:spPr>
        <p:txBody>
          <a:bodyPr vert="horz" wrap="square" lIns="0" tIns="8786" rIns="0" bIns="0" rtlCol="0">
            <a:spAutoFit/>
          </a:bodyPr>
          <a:lstStyle/>
          <a:p>
            <a:pPr marL="10983" marR="4393">
              <a:lnSpc>
                <a:spcPct val="102400"/>
              </a:lnSpc>
              <a:spcBef>
                <a:spcPts val="69"/>
              </a:spcBef>
            </a:pP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Improve demand</a:t>
            </a:r>
            <a:r>
              <a:rPr sz="1800" spc="-78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management 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thru </a:t>
            </a:r>
            <a:r>
              <a:rPr sz="1800" dirty="0">
                <a:solidFill>
                  <a:srgbClr val="3D3C3F"/>
                </a:solidFill>
                <a:latin typeface="Arial"/>
                <a:cs typeface="Arial"/>
              </a:rPr>
              <a:t>digital </a:t>
            </a:r>
            <a:r>
              <a:rPr sz="1800" spc="13" dirty="0">
                <a:solidFill>
                  <a:srgbClr val="3D3C3F"/>
                </a:solidFill>
                <a:latin typeface="Arial"/>
                <a:cs typeface="Arial"/>
              </a:rPr>
              <a:t>&amp;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inside</a:t>
            </a:r>
            <a:r>
              <a:rPr sz="1800" spc="-30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sale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321564" y="4445015"/>
            <a:ext cx="2847693" cy="573898"/>
          </a:xfrm>
          <a:prstGeom prst="rect">
            <a:avLst/>
          </a:prstGeom>
        </p:spPr>
        <p:txBody>
          <a:bodyPr vert="horz" wrap="square" lIns="0" tIns="8786" rIns="0" bIns="0" rtlCol="0">
            <a:spAutoFit/>
          </a:bodyPr>
          <a:lstStyle/>
          <a:p>
            <a:pPr marL="10983" marR="4393">
              <a:lnSpc>
                <a:spcPct val="102400"/>
              </a:lnSpc>
              <a:spcBef>
                <a:spcPts val="69"/>
              </a:spcBef>
            </a:pPr>
            <a:r>
              <a:rPr sz="1800" spc="-9" dirty="0">
                <a:solidFill>
                  <a:srgbClr val="3D3C3F"/>
                </a:solidFill>
                <a:latin typeface="Arial"/>
                <a:cs typeface="Arial"/>
              </a:rPr>
              <a:t>Tier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org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by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account size, 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add</a:t>
            </a:r>
            <a:r>
              <a:rPr sz="1800" spc="-56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capacity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455307" y="4531078"/>
            <a:ext cx="2079256" cy="291415"/>
          </a:xfrm>
          <a:prstGeom prst="rect">
            <a:avLst/>
          </a:prstGeom>
        </p:spPr>
        <p:txBody>
          <a:bodyPr vert="horz" wrap="square" lIns="0" tIns="14278" rIns="0" bIns="0" rtlCol="0">
            <a:spAutoFit/>
          </a:bodyPr>
          <a:lstStyle/>
          <a:p>
            <a:pPr marL="10983">
              <a:spcBef>
                <a:spcPts val="112"/>
              </a:spcBef>
            </a:pP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Grow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inside</a:t>
            </a:r>
            <a:r>
              <a:rPr sz="1800" spc="-61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sale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957106" y="5269913"/>
            <a:ext cx="1719725" cy="291415"/>
          </a:xfrm>
          <a:prstGeom prst="rect">
            <a:avLst/>
          </a:prstGeom>
        </p:spPr>
        <p:txBody>
          <a:bodyPr vert="horz" wrap="square" lIns="0" tIns="14278" rIns="0" bIns="0" rtlCol="0">
            <a:spAutoFit/>
          </a:bodyPr>
          <a:lstStyle/>
          <a:p>
            <a:pPr marL="10983">
              <a:spcBef>
                <a:spcPts val="112"/>
              </a:spcBef>
            </a:pP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Add </a:t>
            </a:r>
            <a:r>
              <a:rPr sz="1800" dirty="0">
                <a:solidFill>
                  <a:srgbClr val="3D3C3F"/>
                </a:solidFill>
                <a:latin typeface="Arial"/>
                <a:cs typeface="Arial"/>
              </a:rPr>
              <a:t>field</a:t>
            </a:r>
            <a:r>
              <a:rPr sz="1800" spc="-43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sale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321564" y="5269913"/>
            <a:ext cx="2802945" cy="291415"/>
          </a:xfrm>
          <a:prstGeom prst="rect">
            <a:avLst/>
          </a:prstGeom>
        </p:spPr>
        <p:txBody>
          <a:bodyPr vert="horz" wrap="square" lIns="0" tIns="14278" rIns="0" bIns="0" rtlCol="0">
            <a:spAutoFit/>
          </a:bodyPr>
          <a:lstStyle/>
          <a:p>
            <a:pPr marL="10983">
              <a:spcBef>
                <a:spcPts val="112"/>
              </a:spcBef>
            </a:pP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Selectively </a:t>
            </a:r>
            <a:r>
              <a:rPr sz="1800" spc="9" dirty="0">
                <a:solidFill>
                  <a:srgbClr val="3D3C3F"/>
                </a:solidFill>
                <a:latin typeface="Arial"/>
                <a:cs typeface="Arial"/>
              </a:rPr>
              <a:t>add</a:t>
            </a:r>
            <a:r>
              <a:rPr sz="1800" spc="-26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800" spc="4" dirty="0">
                <a:solidFill>
                  <a:srgbClr val="3D3C3F"/>
                </a:solidFill>
                <a:latin typeface="Arial"/>
                <a:cs typeface="Arial"/>
              </a:rPr>
              <a:t>capacity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27746" y="2283715"/>
            <a:ext cx="165106" cy="289751"/>
          </a:xfrm>
          <a:prstGeom prst="rect">
            <a:avLst/>
          </a:prstGeom>
        </p:spPr>
        <p:txBody>
          <a:bodyPr vert="horz" wrap="square" lIns="0" tIns="12629" rIns="0" bIns="0" rtlCol="0">
            <a:spAutoFit/>
          </a:bodyPr>
          <a:lstStyle/>
          <a:p>
            <a:pPr marL="10983">
              <a:spcBef>
                <a:spcPts val="99"/>
              </a:spcBef>
            </a:pPr>
            <a:r>
              <a:rPr sz="1800" b="1" dirty="0">
                <a:solidFill>
                  <a:schemeClr val="accent3"/>
                </a:solidFill>
                <a:latin typeface="+mn-lt"/>
                <a:cs typeface="Georgia"/>
              </a:rPr>
              <a:t>1</a:t>
            </a:r>
          </a:p>
        </p:txBody>
      </p:sp>
      <p:sp>
        <p:nvSpPr>
          <p:cNvPr id="15" name="object 15"/>
          <p:cNvSpPr/>
          <p:nvPr/>
        </p:nvSpPr>
        <p:spPr>
          <a:xfrm>
            <a:off x="1220862" y="3584122"/>
            <a:ext cx="259232" cy="0"/>
          </a:xfrm>
          <a:custGeom>
            <a:avLst/>
            <a:gdLst/>
            <a:ahLst/>
            <a:cxnLst/>
            <a:rect l="l" t="t" r="r" b="b"/>
            <a:pathLst>
              <a:path w="213359">
                <a:moveTo>
                  <a:pt x="0" y="0"/>
                </a:moveTo>
                <a:lnTo>
                  <a:pt x="213359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33239" y="3373295"/>
            <a:ext cx="205225" cy="289751"/>
          </a:xfrm>
          <a:prstGeom prst="rect">
            <a:avLst/>
          </a:prstGeom>
        </p:spPr>
        <p:txBody>
          <a:bodyPr vert="horz" wrap="square" lIns="0" tIns="12629" rIns="0" bIns="0" rtlCol="0">
            <a:spAutoFit/>
          </a:bodyPr>
          <a:lstStyle/>
          <a:p>
            <a:pPr marL="10983">
              <a:spcBef>
                <a:spcPts val="99"/>
              </a:spcBef>
            </a:pPr>
            <a:r>
              <a:rPr sz="1800" b="1" dirty="0">
                <a:solidFill>
                  <a:schemeClr val="accent3"/>
                </a:solidFill>
                <a:latin typeface="+mn-lt"/>
                <a:cs typeface="Georgia"/>
              </a:rPr>
              <a:t>2</a:t>
            </a:r>
          </a:p>
        </p:txBody>
      </p:sp>
      <p:sp>
        <p:nvSpPr>
          <p:cNvPr id="17" name="object 17"/>
          <p:cNvSpPr/>
          <p:nvPr/>
        </p:nvSpPr>
        <p:spPr>
          <a:xfrm>
            <a:off x="2113369" y="4581958"/>
            <a:ext cx="611047" cy="984440"/>
          </a:xfrm>
          <a:custGeom>
            <a:avLst/>
            <a:gdLst/>
            <a:ahLst/>
            <a:cxnLst/>
            <a:rect l="l" t="t" r="r" b="b"/>
            <a:pathLst>
              <a:path w="502919" h="923925">
                <a:moveTo>
                  <a:pt x="502919" y="918971"/>
                </a:moveTo>
                <a:lnTo>
                  <a:pt x="9143" y="0"/>
                </a:lnTo>
                <a:lnTo>
                  <a:pt x="0" y="6095"/>
                </a:lnTo>
                <a:lnTo>
                  <a:pt x="493775" y="923543"/>
                </a:lnTo>
                <a:lnTo>
                  <a:pt x="502919" y="918971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" name="object 18"/>
          <p:cNvSpPr/>
          <p:nvPr/>
        </p:nvSpPr>
        <p:spPr>
          <a:xfrm>
            <a:off x="2154106" y="5076410"/>
            <a:ext cx="259232" cy="0"/>
          </a:xfrm>
          <a:custGeom>
            <a:avLst/>
            <a:gdLst/>
            <a:ahLst/>
            <a:cxnLst/>
            <a:rect l="l" t="t" r="r" b="b"/>
            <a:pathLst>
              <a:path w="213360">
                <a:moveTo>
                  <a:pt x="0" y="0"/>
                </a:moveTo>
                <a:lnTo>
                  <a:pt x="213359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888700" y="4842851"/>
            <a:ext cx="202911" cy="289751"/>
          </a:xfrm>
          <a:prstGeom prst="rect">
            <a:avLst/>
          </a:prstGeom>
        </p:spPr>
        <p:txBody>
          <a:bodyPr vert="horz" wrap="square" lIns="0" tIns="12629" rIns="0" bIns="0" rtlCol="0">
            <a:spAutoFit/>
          </a:bodyPr>
          <a:lstStyle/>
          <a:p>
            <a:pPr marL="10983">
              <a:spcBef>
                <a:spcPts val="99"/>
              </a:spcBef>
            </a:pPr>
            <a:r>
              <a:rPr sz="1800" b="1" dirty="0">
                <a:solidFill>
                  <a:schemeClr val="accent3"/>
                </a:solidFill>
                <a:latin typeface="+mn-lt"/>
                <a:cs typeface="Georgia"/>
              </a:rPr>
              <a:t>3</a:t>
            </a:r>
          </a:p>
        </p:txBody>
      </p:sp>
      <p:sp>
        <p:nvSpPr>
          <p:cNvPr id="20" name="object 20"/>
          <p:cNvSpPr/>
          <p:nvPr/>
        </p:nvSpPr>
        <p:spPr>
          <a:xfrm>
            <a:off x="1156055" y="3053945"/>
            <a:ext cx="613361" cy="989175"/>
          </a:xfrm>
          <a:custGeom>
            <a:avLst/>
            <a:gdLst/>
            <a:ahLst/>
            <a:cxnLst/>
            <a:rect l="l" t="t" r="r" b="b"/>
            <a:pathLst>
              <a:path w="504825" h="928370">
                <a:moveTo>
                  <a:pt x="504443" y="923543"/>
                </a:moveTo>
                <a:lnTo>
                  <a:pt x="9143" y="0"/>
                </a:lnTo>
                <a:lnTo>
                  <a:pt x="0" y="6095"/>
                </a:lnTo>
                <a:lnTo>
                  <a:pt x="495299" y="928115"/>
                </a:lnTo>
                <a:lnTo>
                  <a:pt x="504443" y="923543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220862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31159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40232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493055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583786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674517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76524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8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85598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946719" y="2645555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039302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213003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222076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231149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2402227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492957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583688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>
              <a:latin typeface="+mn-lt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2674421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8" name="object 38"/>
          <p:cNvSpPr/>
          <p:nvPr/>
        </p:nvSpPr>
        <p:spPr>
          <a:xfrm>
            <a:off x="2765151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39" name="object 39"/>
          <p:cNvSpPr/>
          <p:nvPr/>
        </p:nvSpPr>
        <p:spPr>
          <a:xfrm>
            <a:off x="2855882" y="2645555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0" name="object 40"/>
          <p:cNvSpPr/>
          <p:nvPr/>
        </p:nvSpPr>
        <p:spPr>
          <a:xfrm>
            <a:off x="294846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1" name="object 41"/>
          <p:cNvSpPr/>
          <p:nvPr/>
        </p:nvSpPr>
        <p:spPr>
          <a:xfrm>
            <a:off x="3039197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2" name="object 42"/>
          <p:cNvSpPr/>
          <p:nvPr/>
        </p:nvSpPr>
        <p:spPr>
          <a:xfrm>
            <a:off x="3129927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3" name="object 43"/>
          <p:cNvSpPr/>
          <p:nvPr/>
        </p:nvSpPr>
        <p:spPr>
          <a:xfrm>
            <a:off x="3220658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4" name="object 44"/>
          <p:cNvSpPr/>
          <p:nvPr/>
        </p:nvSpPr>
        <p:spPr>
          <a:xfrm>
            <a:off x="3311391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5" name="object 45"/>
          <p:cNvSpPr/>
          <p:nvPr/>
        </p:nvSpPr>
        <p:spPr>
          <a:xfrm>
            <a:off x="3402121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6" name="object 46"/>
          <p:cNvSpPr/>
          <p:nvPr/>
        </p:nvSpPr>
        <p:spPr>
          <a:xfrm>
            <a:off x="3492852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7" name="object 47"/>
          <p:cNvSpPr/>
          <p:nvPr/>
        </p:nvSpPr>
        <p:spPr>
          <a:xfrm>
            <a:off x="358358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8" name="object 48"/>
          <p:cNvSpPr/>
          <p:nvPr/>
        </p:nvSpPr>
        <p:spPr>
          <a:xfrm>
            <a:off x="367431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49" name="object 49"/>
          <p:cNvSpPr/>
          <p:nvPr/>
        </p:nvSpPr>
        <p:spPr>
          <a:xfrm>
            <a:off x="3766896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0" name="object 50"/>
          <p:cNvSpPr/>
          <p:nvPr/>
        </p:nvSpPr>
        <p:spPr>
          <a:xfrm>
            <a:off x="3857628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1" name="object 51"/>
          <p:cNvSpPr/>
          <p:nvPr/>
        </p:nvSpPr>
        <p:spPr>
          <a:xfrm>
            <a:off x="394835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2" name="object 52"/>
          <p:cNvSpPr/>
          <p:nvPr/>
        </p:nvSpPr>
        <p:spPr>
          <a:xfrm>
            <a:off x="4039092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3" name="object 53"/>
          <p:cNvSpPr/>
          <p:nvPr/>
        </p:nvSpPr>
        <p:spPr>
          <a:xfrm>
            <a:off x="412982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4" name="object 54"/>
          <p:cNvSpPr/>
          <p:nvPr/>
        </p:nvSpPr>
        <p:spPr>
          <a:xfrm>
            <a:off x="422055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5" name="object 55"/>
          <p:cNvSpPr/>
          <p:nvPr/>
        </p:nvSpPr>
        <p:spPr>
          <a:xfrm>
            <a:off x="431128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6" name="object 56"/>
          <p:cNvSpPr/>
          <p:nvPr/>
        </p:nvSpPr>
        <p:spPr>
          <a:xfrm>
            <a:off x="440201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7" name="object 57"/>
          <p:cNvSpPr/>
          <p:nvPr/>
        </p:nvSpPr>
        <p:spPr>
          <a:xfrm>
            <a:off x="4492746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8" name="object 58"/>
          <p:cNvSpPr/>
          <p:nvPr/>
        </p:nvSpPr>
        <p:spPr>
          <a:xfrm>
            <a:off x="4583478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59" name="object 59"/>
          <p:cNvSpPr/>
          <p:nvPr/>
        </p:nvSpPr>
        <p:spPr>
          <a:xfrm>
            <a:off x="4676061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0" name="object 60"/>
          <p:cNvSpPr/>
          <p:nvPr/>
        </p:nvSpPr>
        <p:spPr>
          <a:xfrm>
            <a:off x="476679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1" name="object 61"/>
          <p:cNvSpPr/>
          <p:nvPr/>
        </p:nvSpPr>
        <p:spPr>
          <a:xfrm>
            <a:off x="4857523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2" name="object 62"/>
          <p:cNvSpPr/>
          <p:nvPr/>
        </p:nvSpPr>
        <p:spPr>
          <a:xfrm>
            <a:off x="494825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3" name="object 63"/>
          <p:cNvSpPr/>
          <p:nvPr/>
        </p:nvSpPr>
        <p:spPr>
          <a:xfrm>
            <a:off x="503898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4" name="object 64"/>
          <p:cNvSpPr/>
          <p:nvPr/>
        </p:nvSpPr>
        <p:spPr>
          <a:xfrm>
            <a:off x="5129715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5" name="object 65"/>
          <p:cNvSpPr/>
          <p:nvPr/>
        </p:nvSpPr>
        <p:spPr>
          <a:xfrm>
            <a:off x="5220448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6" name="object 66"/>
          <p:cNvSpPr/>
          <p:nvPr/>
        </p:nvSpPr>
        <p:spPr>
          <a:xfrm>
            <a:off x="531117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7" name="object 67"/>
          <p:cNvSpPr/>
          <p:nvPr/>
        </p:nvSpPr>
        <p:spPr>
          <a:xfrm>
            <a:off x="540190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8" name="object 68"/>
          <p:cNvSpPr/>
          <p:nvPr/>
        </p:nvSpPr>
        <p:spPr>
          <a:xfrm>
            <a:off x="5492641" y="2645555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69" name="object 69"/>
          <p:cNvSpPr/>
          <p:nvPr/>
        </p:nvSpPr>
        <p:spPr>
          <a:xfrm>
            <a:off x="5585224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0" name="object 70"/>
          <p:cNvSpPr/>
          <p:nvPr/>
        </p:nvSpPr>
        <p:spPr>
          <a:xfrm>
            <a:off x="5675955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1" name="object 71"/>
          <p:cNvSpPr/>
          <p:nvPr/>
        </p:nvSpPr>
        <p:spPr>
          <a:xfrm>
            <a:off x="5766685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2" name="object 72"/>
          <p:cNvSpPr/>
          <p:nvPr/>
        </p:nvSpPr>
        <p:spPr>
          <a:xfrm>
            <a:off x="5857418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3" name="object 73"/>
          <p:cNvSpPr/>
          <p:nvPr/>
        </p:nvSpPr>
        <p:spPr>
          <a:xfrm>
            <a:off x="594814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4" name="object 74"/>
          <p:cNvSpPr/>
          <p:nvPr/>
        </p:nvSpPr>
        <p:spPr>
          <a:xfrm>
            <a:off x="6038879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5" name="object 75"/>
          <p:cNvSpPr/>
          <p:nvPr/>
        </p:nvSpPr>
        <p:spPr>
          <a:xfrm>
            <a:off x="6129610" y="2645555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76" name="object 76"/>
          <p:cNvSpPr/>
          <p:nvPr/>
        </p:nvSpPr>
        <p:spPr>
          <a:xfrm>
            <a:off x="1581934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1672666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1763397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8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1854135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94486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203559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126329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2217061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2307791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2398522" y="3580874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2491105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258183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>
              <a:latin typeface="+mn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267256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89" name="object 89"/>
          <p:cNvSpPr/>
          <p:nvPr/>
        </p:nvSpPr>
        <p:spPr>
          <a:xfrm>
            <a:off x="2763299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0" name="object 90"/>
          <p:cNvSpPr/>
          <p:nvPr/>
        </p:nvSpPr>
        <p:spPr>
          <a:xfrm>
            <a:off x="2854030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1" name="object 91"/>
          <p:cNvSpPr/>
          <p:nvPr/>
        </p:nvSpPr>
        <p:spPr>
          <a:xfrm>
            <a:off x="2944762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2" name="object 92"/>
          <p:cNvSpPr/>
          <p:nvPr/>
        </p:nvSpPr>
        <p:spPr>
          <a:xfrm>
            <a:off x="3035492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3" name="object 93"/>
          <p:cNvSpPr/>
          <p:nvPr/>
        </p:nvSpPr>
        <p:spPr>
          <a:xfrm>
            <a:off x="3126224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4" name="object 94"/>
          <p:cNvSpPr/>
          <p:nvPr/>
        </p:nvSpPr>
        <p:spPr>
          <a:xfrm>
            <a:off x="3216954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5" name="object 95"/>
          <p:cNvSpPr/>
          <p:nvPr/>
        </p:nvSpPr>
        <p:spPr>
          <a:xfrm>
            <a:off x="3307686" y="3580874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6" name="object 96"/>
          <p:cNvSpPr/>
          <p:nvPr/>
        </p:nvSpPr>
        <p:spPr>
          <a:xfrm>
            <a:off x="3400269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7" name="object 97"/>
          <p:cNvSpPr/>
          <p:nvPr/>
        </p:nvSpPr>
        <p:spPr>
          <a:xfrm>
            <a:off x="3491000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8" name="object 98"/>
          <p:cNvSpPr/>
          <p:nvPr/>
        </p:nvSpPr>
        <p:spPr>
          <a:xfrm>
            <a:off x="3581732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99" name="object 99"/>
          <p:cNvSpPr/>
          <p:nvPr/>
        </p:nvSpPr>
        <p:spPr>
          <a:xfrm>
            <a:off x="3672461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0" name="object 100"/>
          <p:cNvSpPr/>
          <p:nvPr/>
        </p:nvSpPr>
        <p:spPr>
          <a:xfrm>
            <a:off x="3763193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1" name="object 101"/>
          <p:cNvSpPr/>
          <p:nvPr/>
        </p:nvSpPr>
        <p:spPr>
          <a:xfrm>
            <a:off x="3853924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2" name="object 102"/>
          <p:cNvSpPr/>
          <p:nvPr/>
        </p:nvSpPr>
        <p:spPr>
          <a:xfrm>
            <a:off x="3944657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3" name="object 103"/>
          <p:cNvSpPr/>
          <p:nvPr/>
        </p:nvSpPr>
        <p:spPr>
          <a:xfrm>
            <a:off x="4035387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4" name="object 104"/>
          <p:cNvSpPr/>
          <p:nvPr/>
        </p:nvSpPr>
        <p:spPr>
          <a:xfrm>
            <a:off x="412611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5" name="object 105"/>
          <p:cNvSpPr/>
          <p:nvPr/>
        </p:nvSpPr>
        <p:spPr>
          <a:xfrm>
            <a:off x="4218701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6" name="object 106"/>
          <p:cNvSpPr/>
          <p:nvPr/>
        </p:nvSpPr>
        <p:spPr>
          <a:xfrm>
            <a:off x="4309433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7" name="object 107"/>
          <p:cNvSpPr/>
          <p:nvPr/>
        </p:nvSpPr>
        <p:spPr>
          <a:xfrm>
            <a:off x="4400163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8" name="object 108"/>
          <p:cNvSpPr/>
          <p:nvPr/>
        </p:nvSpPr>
        <p:spPr>
          <a:xfrm>
            <a:off x="4490895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09" name="object 109"/>
          <p:cNvSpPr/>
          <p:nvPr/>
        </p:nvSpPr>
        <p:spPr>
          <a:xfrm>
            <a:off x="4581627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0" name="object 110"/>
          <p:cNvSpPr/>
          <p:nvPr/>
        </p:nvSpPr>
        <p:spPr>
          <a:xfrm>
            <a:off x="4672357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1" name="object 111"/>
          <p:cNvSpPr/>
          <p:nvPr/>
        </p:nvSpPr>
        <p:spPr>
          <a:xfrm>
            <a:off x="476308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2" name="object 112"/>
          <p:cNvSpPr/>
          <p:nvPr/>
        </p:nvSpPr>
        <p:spPr>
          <a:xfrm>
            <a:off x="4853819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3" name="object 113"/>
          <p:cNvSpPr/>
          <p:nvPr/>
        </p:nvSpPr>
        <p:spPr>
          <a:xfrm>
            <a:off x="4944551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4" name="object 114"/>
          <p:cNvSpPr/>
          <p:nvPr/>
        </p:nvSpPr>
        <p:spPr>
          <a:xfrm>
            <a:off x="5035283" y="3580874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5" name="object 115"/>
          <p:cNvSpPr/>
          <p:nvPr/>
        </p:nvSpPr>
        <p:spPr>
          <a:xfrm>
            <a:off x="5127865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6" name="object 116"/>
          <p:cNvSpPr/>
          <p:nvPr/>
        </p:nvSpPr>
        <p:spPr>
          <a:xfrm>
            <a:off x="5218596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7" name="object 117"/>
          <p:cNvSpPr/>
          <p:nvPr/>
        </p:nvSpPr>
        <p:spPr>
          <a:xfrm>
            <a:off x="5309326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8" name="object 118"/>
          <p:cNvSpPr/>
          <p:nvPr/>
        </p:nvSpPr>
        <p:spPr>
          <a:xfrm>
            <a:off x="5400058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9" name="object 119"/>
          <p:cNvSpPr/>
          <p:nvPr/>
        </p:nvSpPr>
        <p:spPr>
          <a:xfrm>
            <a:off x="5490789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0" name="object 120"/>
          <p:cNvSpPr/>
          <p:nvPr/>
        </p:nvSpPr>
        <p:spPr>
          <a:xfrm>
            <a:off x="5581520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1" name="object 121"/>
          <p:cNvSpPr/>
          <p:nvPr/>
        </p:nvSpPr>
        <p:spPr>
          <a:xfrm>
            <a:off x="5672253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2" name="object 122"/>
          <p:cNvSpPr/>
          <p:nvPr/>
        </p:nvSpPr>
        <p:spPr>
          <a:xfrm>
            <a:off x="5762983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3" name="object 123"/>
          <p:cNvSpPr/>
          <p:nvPr/>
        </p:nvSpPr>
        <p:spPr>
          <a:xfrm>
            <a:off x="5853713" y="3580874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4" name="object 124"/>
          <p:cNvSpPr/>
          <p:nvPr/>
        </p:nvSpPr>
        <p:spPr>
          <a:xfrm>
            <a:off x="5944444" y="3580874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25" name="object 125"/>
          <p:cNvSpPr/>
          <p:nvPr/>
        </p:nvSpPr>
        <p:spPr>
          <a:xfrm>
            <a:off x="2118924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2209654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2302237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2392968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2483700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2574429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>
              <a:latin typeface="+mn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2665161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2" name="object 132"/>
          <p:cNvSpPr/>
          <p:nvPr/>
        </p:nvSpPr>
        <p:spPr>
          <a:xfrm>
            <a:off x="2755894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3" name="object 133"/>
          <p:cNvSpPr/>
          <p:nvPr/>
        </p:nvSpPr>
        <p:spPr>
          <a:xfrm>
            <a:off x="2846624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4" name="object 134"/>
          <p:cNvSpPr/>
          <p:nvPr/>
        </p:nvSpPr>
        <p:spPr>
          <a:xfrm>
            <a:off x="2937355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5" name="object 135"/>
          <p:cNvSpPr/>
          <p:nvPr/>
        </p:nvSpPr>
        <p:spPr>
          <a:xfrm>
            <a:off x="3028086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6" name="object 136"/>
          <p:cNvSpPr/>
          <p:nvPr/>
        </p:nvSpPr>
        <p:spPr>
          <a:xfrm>
            <a:off x="3118818" y="4319712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7" name="object 137"/>
          <p:cNvSpPr/>
          <p:nvPr/>
        </p:nvSpPr>
        <p:spPr>
          <a:xfrm>
            <a:off x="3211399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8" name="object 138"/>
          <p:cNvSpPr/>
          <p:nvPr/>
        </p:nvSpPr>
        <p:spPr>
          <a:xfrm>
            <a:off x="3302131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9" name="object 139"/>
          <p:cNvSpPr/>
          <p:nvPr/>
        </p:nvSpPr>
        <p:spPr>
          <a:xfrm>
            <a:off x="3392862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0" name="object 140"/>
          <p:cNvSpPr/>
          <p:nvPr/>
        </p:nvSpPr>
        <p:spPr>
          <a:xfrm>
            <a:off x="3483593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1" name="object 141"/>
          <p:cNvSpPr/>
          <p:nvPr/>
        </p:nvSpPr>
        <p:spPr>
          <a:xfrm>
            <a:off x="3574325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2" name="object 142"/>
          <p:cNvSpPr/>
          <p:nvPr/>
        </p:nvSpPr>
        <p:spPr>
          <a:xfrm>
            <a:off x="3665056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3" name="object 143"/>
          <p:cNvSpPr/>
          <p:nvPr/>
        </p:nvSpPr>
        <p:spPr>
          <a:xfrm>
            <a:off x="3755787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4" name="object 144"/>
          <p:cNvSpPr/>
          <p:nvPr/>
        </p:nvSpPr>
        <p:spPr>
          <a:xfrm>
            <a:off x="3846517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5" name="object 145"/>
          <p:cNvSpPr/>
          <p:nvPr/>
        </p:nvSpPr>
        <p:spPr>
          <a:xfrm>
            <a:off x="3937248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6" name="object 146"/>
          <p:cNvSpPr/>
          <p:nvPr/>
        </p:nvSpPr>
        <p:spPr>
          <a:xfrm>
            <a:off x="4027981" y="4319712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7" name="object 147"/>
          <p:cNvSpPr/>
          <p:nvPr/>
        </p:nvSpPr>
        <p:spPr>
          <a:xfrm>
            <a:off x="4120564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8" name="object 148"/>
          <p:cNvSpPr/>
          <p:nvPr/>
        </p:nvSpPr>
        <p:spPr>
          <a:xfrm>
            <a:off x="4211296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49" name="object 149"/>
          <p:cNvSpPr/>
          <p:nvPr/>
        </p:nvSpPr>
        <p:spPr>
          <a:xfrm>
            <a:off x="4302026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0" name="object 150"/>
          <p:cNvSpPr/>
          <p:nvPr/>
        </p:nvSpPr>
        <p:spPr>
          <a:xfrm>
            <a:off x="4392757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1" name="object 151"/>
          <p:cNvSpPr/>
          <p:nvPr/>
        </p:nvSpPr>
        <p:spPr>
          <a:xfrm>
            <a:off x="4483488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2" name="object 152"/>
          <p:cNvSpPr/>
          <p:nvPr/>
        </p:nvSpPr>
        <p:spPr>
          <a:xfrm>
            <a:off x="4574218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3" name="object 153"/>
          <p:cNvSpPr/>
          <p:nvPr/>
        </p:nvSpPr>
        <p:spPr>
          <a:xfrm>
            <a:off x="4664951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4" name="object 154"/>
          <p:cNvSpPr/>
          <p:nvPr/>
        </p:nvSpPr>
        <p:spPr>
          <a:xfrm>
            <a:off x="4755682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5" name="object 155"/>
          <p:cNvSpPr/>
          <p:nvPr/>
        </p:nvSpPr>
        <p:spPr>
          <a:xfrm>
            <a:off x="4846412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6" name="object 156"/>
          <p:cNvSpPr/>
          <p:nvPr/>
        </p:nvSpPr>
        <p:spPr>
          <a:xfrm>
            <a:off x="4938995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7" name="object 157"/>
          <p:cNvSpPr/>
          <p:nvPr/>
        </p:nvSpPr>
        <p:spPr>
          <a:xfrm>
            <a:off x="5029727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8" name="object 158"/>
          <p:cNvSpPr/>
          <p:nvPr/>
        </p:nvSpPr>
        <p:spPr>
          <a:xfrm>
            <a:off x="5120458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59" name="object 159"/>
          <p:cNvSpPr/>
          <p:nvPr/>
        </p:nvSpPr>
        <p:spPr>
          <a:xfrm>
            <a:off x="5211189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0" name="object 160"/>
          <p:cNvSpPr/>
          <p:nvPr/>
        </p:nvSpPr>
        <p:spPr>
          <a:xfrm>
            <a:off x="5301921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1" name="object 161"/>
          <p:cNvSpPr/>
          <p:nvPr/>
        </p:nvSpPr>
        <p:spPr>
          <a:xfrm>
            <a:off x="5392652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2" name="object 162"/>
          <p:cNvSpPr/>
          <p:nvPr/>
        </p:nvSpPr>
        <p:spPr>
          <a:xfrm>
            <a:off x="5483382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3" name="object 163"/>
          <p:cNvSpPr/>
          <p:nvPr/>
        </p:nvSpPr>
        <p:spPr>
          <a:xfrm>
            <a:off x="5574113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4" name="object 164"/>
          <p:cNvSpPr/>
          <p:nvPr/>
        </p:nvSpPr>
        <p:spPr>
          <a:xfrm>
            <a:off x="5664845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5" name="object 165"/>
          <p:cNvSpPr/>
          <p:nvPr/>
        </p:nvSpPr>
        <p:spPr>
          <a:xfrm>
            <a:off x="5755576" y="4319712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6" name="object 166"/>
          <p:cNvSpPr/>
          <p:nvPr/>
        </p:nvSpPr>
        <p:spPr>
          <a:xfrm>
            <a:off x="5848159" y="4319712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67" name="object 167"/>
          <p:cNvSpPr/>
          <p:nvPr/>
        </p:nvSpPr>
        <p:spPr>
          <a:xfrm>
            <a:off x="2494810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2585540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>
              <a:latin typeface="+mn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2676271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0" name="object 170"/>
          <p:cNvSpPr/>
          <p:nvPr/>
        </p:nvSpPr>
        <p:spPr>
          <a:xfrm>
            <a:off x="2767003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1" name="object 171"/>
          <p:cNvSpPr/>
          <p:nvPr/>
        </p:nvSpPr>
        <p:spPr>
          <a:xfrm>
            <a:off x="285773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2" name="object 172"/>
          <p:cNvSpPr/>
          <p:nvPr/>
        </p:nvSpPr>
        <p:spPr>
          <a:xfrm>
            <a:off x="294846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3" name="object 173"/>
          <p:cNvSpPr/>
          <p:nvPr/>
        </p:nvSpPr>
        <p:spPr>
          <a:xfrm>
            <a:off x="3039197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4" name="object 174"/>
          <p:cNvSpPr/>
          <p:nvPr/>
        </p:nvSpPr>
        <p:spPr>
          <a:xfrm>
            <a:off x="3131780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5" name="object 175"/>
          <p:cNvSpPr/>
          <p:nvPr/>
        </p:nvSpPr>
        <p:spPr>
          <a:xfrm>
            <a:off x="3222510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6" name="object 176"/>
          <p:cNvSpPr/>
          <p:nvPr/>
        </p:nvSpPr>
        <p:spPr>
          <a:xfrm>
            <a:off x="3313241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7" name="object 177"/>
          <p:cNvSpPr/>
          <p:nvPr/>
        </p:nvSpPr>
        <p:spPr>
          <a:xfrm>
            <a:off x="340397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8" name="object 178"/>
          <p:cNvSpPr/>
          <p:nvPr/>
        </p:nvSpPr>
        <p:spPr>
          <a:xfrm>
            <a:off x="349470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79" name="object 179"/>
          <p:cNvSpPr/>
          <p:nvPr/>
        </p:nvSpPr>
        <p:spPr>
          <a:xfrm>
            <a:off x="358543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0" name="object 180"/>
          <p:cNvSpPr/>
          <p:nvPr/>
        </p:nvSpPr>
        <p:spPr>
          <a:xfrm>
            <a:off x="3676165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1" name="object 181"/>
          <p:cNvSpPr/>
          <p:nvPr/>
        </p:nvSpPr>
        <p:spPr>
          <a:xfrm>
            <a:off x="3766896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80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2" name="object 182"/>
          <p:cNvSpPr/>
          <p:nvPr/>
        </p:nvSpPr>
        <p:spPr>
          <a:xfrm>
            <a:off x="3857628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3" name="object 183"/>
          <p:cNvSpPr/>
          <p:nvPr/>
        </p:nvSpPr>
        <p:spPr>
          <a:xfrm>
            <a:off x="3948359" y="5058548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4" name="object 184"/>
          <p:cNvSpPr/>
          <p:nvPr/>
        </p:nvSpPr>
        <p:spPr>
          <a:xfrm>
            <a:off x="4040942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5" name="object 185"/>
          <p:cNvSpPr/>
          <p:nvPr/>
        </p:nvSpPr>
        <p:spPr>
          <a:xfrm>
            <a:off x="4131675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6" name="object 186"/>
          <p:cNvSpPr/>
          <p:nvPr/>
        </p:nvSpPr>
        <p:spPr>
          <a:xfrm>
            <a:off x="4222405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7" name="object 187"/>
          <p:cNvSpPr/>
          <p:nvPr/>
        </p:nvSpPr>
        <p:spPr>
          <a:xfrm>
            <a:off x="4313135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8" name="object 188"/>
          <p:cNvSpPr/>
          <p:nvPr/>
        </p:nvSpPr>
        <p:spPr>
          <a:xfrm>
            <a:off x="4403866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89" name="object 189"/>
          <p:cNvSpPr/>
          <p:nvPr/>
        </p:nvSpPr>
        <p:spPr>
          <a:xfrm>
            <a:off x="4494597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0" name="object 190"/>
          <p:cNvSpPr/>
          <p:nvPr/>
        </p:nvSpPr>
        <p:spPr>
          <a:xfrm>
            <a:off x="4585329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1" name="object 191"/>
          <p:cNvSpPr/>
          <p:nvPr/>
        </p:nvSpPr>
        <p:spPr>
          <a:xfrm>
            <a:off x="4676061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2" name="object 192"/>
          <p:cNvSpPr/>
          <p:nvPr/>
        </p:nvSpPr>
        <p:spPr>
          <a:xfrm>
            <a:off x="4766793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3" name="object 193"/>
          <p:cNvSpPr/>
          <p:nvPr/>
        </p:nvSpPr>
        <p:spPr>
          <a:xfrm>
            <a:off x="4857523" y="5058548"/>
            <a:ext cx="54007" cy="0"/>
          </a:xfrm>
          <a:custGeom>
            <a:avLst/>
            <a:gdLst/>
            <a:ahLst/>
            <a:cxnLst/>
            <a:rect l="l" t="t" r="r" b="b"/>
            <a:pathLst>
              <a:path w="44450">
                <a:moveTo>
                  <a:pt x="0" y="0"/>
                </a:moveTo>
                <a:lnTo>
                  <a:pt x="44195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4" name="object 194"/>
          <p:cNvSpPr/>
          <p:nvPr/>
        </p:nvSpPr>
        <p:spPr>
          <a:xfrm>
            <a:off x="495010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5" name="object 195"/>
          <p:cNvSpPr/>
          <p:nvPr/>
        </p:nvSpPr>
        <p:spPr>
          <a:xfrm>
            <a:off x="5040836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6" name="object 196"/>
          <p:cNvSpPr/>
          <p:nvPr/>
        </p:nvSpPr>
        <p:spPr>
          <a:xfrm>
            <a:off x="5131567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7" name="object 197"/>
          <p:cNvSpPr/>
          <p:nvPr/>
        </p:nvSpPr>
        <p:spPr>
          <a:xfrm>
            <a:off x="5222298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8" name="object 198"/>
          <p:cNvSpPr/>
          <p:nvPr/>
        </p:nvSpPr>
        <p:spPr>
          <a:xfrm>
            <a:off x="5313031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99" name="object 199"/>
          <p:cNvSpPr/>
          <p:nvPr/>
        </p:nvSpPr>
        <p:spPr>
          <a:xfrm>
            <a:off x="5403762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00" name="object 200"/>
          <p:cNvSpPr/>
          <p:nvPr/>
        </p:nvSpPr>
        <p:spPr>
          <a:xfrm>
            <a:off x="5494492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01" name="object 201"/>
          <p:cNvSpPr/>
          <p:nvPr/>
        </p:nvSpPr>
        <p:spPr>
          <a:xfrm>
            <a:off x="5585224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02" name="object 202"/>
          <p:cNvSpPr/>
          <p:nvPr/>
        </p:nvSpPr>
        <p:spPr>
          <a:xfrm>
            <a:off x="5675955" y="5058548"/>
            <a:ext cx="52464" cy="0"/>
          </a:xfrm>
          <a:custGeom>
            <a:avLst/>
            <a:gdLst/>
            <a:ahLst/>
            <a:cxnLst/>
            <a:rect l="l" t="t" r="r" b="b"/>
            <a:pathLst>
              <a:path w="43179">
                <a:moveTo>
                  <a:pt x="0" y="0"/>
                </a:moveTo>
                <a:lnTo>
                  <a:pt x="42671" y="0"/>
                </a:lnTo>
              </a:path>
            </a:pathLst>
          </a:custGeom>
          <a:ln w="10667">
            <a:solidFill>
              <a:srgbClr val="656565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03" name="object 203"/>
          <p:cNvSpPr/>
          <p:nvPr/>
        </p:nvSpPr>
        <p:spPr>
          <a:xfrm>
            <a:off x="657960" y="2233917"/>
            <a:ext cx="314780" cy="498647"/>
          </a:xfrm>
          <a:custGeom>
            <a:avLst/>
            <a:gdLst/>
            <a:ahLst/>
            <a:cxnLst/>
            <a:rect l="l" t="t" r="r" b="b"/>
            <a:pathLst>
              <a:path w="259080" h="467994">
                <a:moveTo>
                  <a:pt x="259079" y="463295"/>
                </a:moveTo>
                <a:lnTo>
                  <a:pt x="9143" y="0"/>
                </a:lnTo>
                <a:lnTo>
                  <a:pt x="0" y="4571"/>
                </a:lnTo>
                <a:lnTo>
                  <a:pt x="249935" y="467867"/>
                </a:lnTo>
                <a:lnTo>
                  <a:pt x="259079" y="463295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800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9320016" y="2233917"/>
            <a:ext cx="2110888" cy="3431669"/>
          </a:xfrm>
          <a:custGeom>
            <a:avLst/>
            <a:gdLst/>
            <a:ahLst/>
            <a:cxnLst/>
            <a:rect l="l" t="t" r="r" b="b"/>
            <a:pathLst>
              <a:path w="1737359" h="3220720">
                <a:moveTo>
                  <a:pt x="1737359" y="4571"/>
                </a:moveTo>
                <a:lnTo>
                  <a:pt x="1726691" y="0"/>
                </a:lnTo>
                <a:lnTo>
                  <a:pt x="0" y="3215639"/>
                </a:lnTo>
                <a:lnTo>
                  <a:pt x="9143" y="3220211"/>
                </a:lnTo>
                <a:lnTo>
                  <a:pt x="1737359" y="4571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68673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29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 txBox="1">
            <a:spLocks noGrp="1"/>
          </p:cNvSpPr>
          <p:nvPr>
            <p:ph type="title"/>
          </p:nvPr>
        </p:nvSpPr>
        <p:spPr bwMode="gray">
          <a:xfrm>
            <a:off x="158759" y="230189"/>
            <a:ext cx="10648941" cy="763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988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36563" marR="4393">
              <a:lnSpc>
                <a:spcPct val="101699"/>
              </a:lnSpc>
              <a:spcBef>
                <a:spcPts val="78"/>
              </a:spcBef>
            </a:pPr>
            <a:r>
              <a:rPr spc="13" dirty="0" smtClean="0">
                <a:latin typeface="+mn-lt"/>
              </a:rPr>
              <a:t>SMB </a:t>
            </a:r>
            <a:r>
              <a:rPr spc="4" dirty="0">
                <a:latin typeface="+mn-lt"/>
              </a:rPr>
              <a:t>focus </a:t>
            </a:r>
            <a:r>
              <a:rPr spc="13" dirty="0">
                <a:latin typeface="+mn-lt"/>
              </a:rPr>
              <a:t>– </a:t>
            </a:r>
            <a:r>
              <a:rPr spc="9" dirty="0">
                <a:latin typeface="+mn-lt"/>
              </a:rPr>
              <a:t>Focus </a:t>
            </a:r>
            <a:r>
              <a:rPr spc="4" dirty="0">
                <a:latin typeface="+mn-lt"/>
              </a:rPr>
              <a:t>digital </a:t>
            </a:r>
            <a:r>
              <a:rPr spc="13" dirty="0">
                <a:latin typeface="+mn-lt"/>
              </a:rPr>
              <a:t>&amp;  </a:t>
            </a:r>
            <a:r>
              <a:rPr spc="4" dirty="0">
                <a:latin typeface="+mn-lt"/>
              </a:rPr>
              <a:t>traditional marketing </a:t>
            </a:r>
            <a:r>
              <a:rPr spc="9" dirty="0">
                <a:latin typeface="+mn-lt"/>
              </a:rPr>
              <a:t>on </a:t>
            </a:r>
            <a:r>
              <a:rPr spc="13" dirty="0">
                <a:latin typeface="+mn-lt"/>
              </a:rPr>
              <a:t>SMB </a:t>
            </a:r>
            <a:r>
              <a:rPr spc="9" dirty="0">
                <a:latin typeface="+mn-lt"/>
              </a:rPr>
              <a:t>to  </a:t>
            </a:r>
            <a:r>
              <a:rPr spc="4" dirty="0">
                <a:latin typeface="+mn-lt"/>
              </a:rPr>
              <a:t>further develop </a:t>
            </a:r>
            <a:r>
              <a:rPr spc="13" dirty="0">
                <a:latin typeface="+mn-lt"/>
              </a:rPr>
              <a:t>&amp; </a:t>
            </a:r>
            <a:r>
              <a:rPr spc="9" dirty="0">
                <a:latin typeface="+mn-lt"/>
              </a:rPr>
              <a:t>embed </a:t>
            </a:r>
            <a:r>
              <a:rPr spc="13" dirty="0">
                <a:latin typeface="+mn-lt"/>
              </a:rPr>
              <a:t>SMB  </a:t>
            </a:r>
            <a:r>
              <a:rPr spc="9" dirty="0">
                <a:latin typeface="+mn-lt"/>
              </a:rPr>
              <a:t>“DNA” </a:t>
            </a:r>
            <a:r>
              <a:rPr spc="4" dirty="0">
                <a:latin typeface="+mn-lt"/>
              </a:rPr>
              <a:t>in </a:t>
            </a:r>
            <a:r>
              <a:rPr spc="9" dirty="0">
                <a:latin typeface="+mn-lt"/>
              </a:rPr>
              <a:t>the</a:t>
            </a:r>
            <a:r>
              <a:rPr spc="-4" dirty="0">
                <a:latin typeface="+mn-lt"/>
              </a:rPr>
              <a:t> </a:t>
            </a:r>
            <a:r>
              <a:rPr spc="4" dirty="0">
                <a:latin typeface="+mn-lt"/>
              </a:rPr>
              <a:t>organization</a:t>
            </a:r>
          </a:p>
        </p:txBody>
      </p:sp>
      <p:sp>
        <p:nvSpPr>
          <p:cNvPr id="9" name="Marvintitletrackercircle"/>
          <p:cNvSpPr/>
          <p:nvPr>
            <p:custDataLst>
              <p:tags r:id="rId3"/>
            </p:custDataLst>
          </p:nvPr>
        </p:nvSpPr>
        <p:spPr>
          <a:xfrm>
            <a:off x="146059" y="217489"/>
            <a:ext cx="398463" cy="398463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2"/>
                </a:solidFill>
                <a:latin typeface="+mj-lt"/>
              </a:rPr>
              <a:t>1</a:t>
            </a:r>
          </a:p>
        </p:txBody>
      </p:sp>
      <p:sp>
        <p:nvSpPr>
          <p:cNvPr id="1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5645429" y="1464914"/>
            <a:ext cx="178634" cy="274165"/>
          </a:xfrm>
          <a:prstGeom prst="chevron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5693054" y="1729158"/>
            <a:ext cx="0" cy="4307069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58759" y="1464914"/>
            <a:ext cx="5241916" cy="4319962"/>
          </a:xfrm>
          <a:prstGeom prst="rect">
            <a:avLst/>
          </a:prstGeom>
        </p:spPr>
        <p:txBody>
          <a:bodyPr vert="horz" wrap="square" lIns="0" tIns="10983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oving beyond being a  powerful “enterprise”</a:t>
            </a:r>
            <a:r>
              <a:rPr lang="en-US" sz="1800" b="1" dirty="0" smtClean="0">
                <a:solidFill>
                  <a:schemeClr val="accent4"/>
                </a:solidFill>
              </a:rPr>
              <a:t>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brand…</a:t>
            </a:r>
            <a:endParaRPr lang="en-US" sz="18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Client sales </a:t>
            </a:r>
            <a:r>
              <a:rPr lang="en-US" sz="1800" b="1" dirty="0" smtClean="0">
                <a:solidFill>
                  <a:schemeClr val="accent4"/>
                </a:solidFill>
              </a:rPr>
              <a:t>and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arketing team strengths tailored to  enterprise needs:</a:t>
            </a:r>
            <a:endParaRPr lang="en-US" sz="18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Verticalization </a:t>
            </a:r>
            <a:r>
              <a:rPr lang="en-US" sz="1800" dirty="0" smtClean="0">
                <a:cs typeface="Arial" panose="020B0604020202020204" pitchFamily="34" charset="0"/>
              </a:rPr>
              <a:t>of messages, outreach, customer &amp; </a:t>
            </a:r>
            <a:r>
              <a:rPr lang="en-US" sz="1800" dirty="0" smtClean="0"/>
              <a:t>prospect  engagement</a:t>
            </a: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Focus on “quality over </a:t>
            </a:r>
            <a:r>
              <a:rPr lang="en-US" sz="1800" b="1" dirty="0" smtClean="0">
                <a:solidFill>
                  <a:schemeClr val="accent4"/>
                </a:solidFill>
              </a:rPr>
              <a:t>quantity”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 leads</a:t>
            </a:r>
            <a:endParaRPr lang="en-US" sz="18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200"/>
              </a:spcBef>
            </a:pPr>
            <a:r>
              <a:rPr lang="en-US" sz="1800" dirty="0" smtClean="0">
                <a:cs typeface="Arial" panose="020B0604020202020204" pitchFamily="34" charset="0"/>
              </a:rPr>
              <a:t>Marketing &amp; </a:t>
            </a:r>
            <a:r>
              <a:rPr lang="en-US" sz="1800" dirty="0" smtClean="0"/>
              <a:t>selling process </a:t>
            </a:r>
            <a:r>
              <a:rPr lang="en-US" sz="1800" dirty="0" smtClean="0">
                <a:cs typeface="Arial" panose="020B0604020202020204" pitchFamily="34" charset="0"/>
              </a:rPr>
              <a:t>that focus on enterprise buyers w</a:t>
            </a: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sophisticated decision </a:t>
            </a:r>
            <a:r>
              <a:rPr lang="en-US" sz="1800" b="1" dirty="0" smtClean="0">
                <a:solidFill>
                  <a:schemeClr val="accent4"/>
                </a:solidFill>
              </a:rPr>
              <a:t>makers </a:t>
            </a:r>
            <a:r>
              <a:rPr lang="en-US" sz="1800" dirty="0" smtClean="0">
                <a:cs typeface="Arial" panose="020B0604020202020204" pitchFamily="34" charset="0"/>
              </a:rPr>
              <a:t>&amp;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longer </a:t>
            </a:r>
            <a:b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</a:b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sales cycles</a:t>
            </a:r>
            <a:endParaRPr lang="en-US" sz="18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arketing tactics </a:t>
            </a:r>
            <a:r>
              <a:rPr lang="en-US" sz="1800" dirty="0" smtClean="0">
                <a:cs typeface="Arial" panose="020B0604020202020204" pitchFamily="34" charset="0"/>
              </a:rPr>
              <a:t>(channels, messages) mostly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cover </a:t>
            </a:r>
            <a:r>
              <a:rPr lang="en-US" sz="1800" b="1" dirty="0" smtClean="0">
                <a:solidFill>
                  <a:schemeClr val="accent4"/>
                </a:solidFill>
              </a:rPr>
              <a:t>all 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sizes </a:t>
            </a:r>
            <a:r>
              <a:rPr lang="en-US" sz="1800" dirty="0" smtClean="0">
                <a:cs typeface="Arial" panose="020B0604020202020204" pitchFamily="34" charset="0"/>
              </a:rPr>
              <a:t>(e.g., SEM targets all company sizes) w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some that  focus specifically on larger companies</a:t>
            </a:r>
            <a:endParaRPr lang="en-US" sz="1800" b="1" dirty="0">
              <a:solidFill>
                <a:schemeClr val="accent4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68817" y="1464914"/>
            <a:ext cx="5581833" cy="4571313"/>
          </a:xfrm>
          <a:prstGeom prst="rect">
            <a:avLst/>
          </a:prstGeom>
        </p:spPr>
        <p:txBody>
          <a:bodyPr vert="horz" wrap="square" lIns="0" tIns="10983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…to being a powerful enterprise &amp;  SMB </a:t>
            </a:r>
            <a:r>
              <a:rPr lang="en-US" sz="1800" b="1" dirty="0" smtClean="0">
                <a:solidFill>
                  <a:schemeClr val="accent4"/>
                </a:solidFill>
              </a:rPr>
              <a:t>brand</a:t>
            </a:r>
            <a:endParaRPr lang="en-US" sz="1800" dirty="0" smtClean="0">
              <a:solidFill>
                <a:schemeClr val="accent4"/>
              </a:solidFill>
            </a:endParaRP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To drive </a:t>
            </a:r>
            <a:r>
              <a:rPr lang="en-US" sz="1800" b="1" dirty="0" smtClean="0">
                <a:solidFill>
                  <a:schemeClr val="accent4"/>
                </a:solidFill>
              </a:rPr>
              <a:t>growth, increase focus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on SMB-specific  marketing, e.g.,</a:t>
            </a:r>
            <a:endParaRPr lang="en-US" sz="18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ore vertical-agnostic </a:t>
            </a:r>
            <a:r>
              <a:rPr lang="en-US" sz="1800" b="1" dirty="0" smtClean="0">
                <a:solidFill>
                  <a:schemeClr val="accent4"/>
                </a:solidFill>
              </a:rPr>
              <a:t>messaging appealing </a:t>
            </a:r>
            <a:r>
              <a:rPr lang="en-US" sz="1800" dirty="0" smtClean="0">
                <a:cs typeface="Arial" panose="020B0604020202020204" pitchFamily="34" charset="0"/>
              </a:rPr>
              <a:t>to SMBs</a:t>
            </a: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indset of driving </a:t>
            </a:r>
            <a:r>
              <a:rPr lang="en-US" sz="1800" b="1" dirty="0" smtClean="0">
                <a:solidFill>
                  <a:schemeClr val="accent4"/>
                </a:solidFill>
              </a:rPr>
              <a:t>“quantity” sometimes at the cost  of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“quality” </a:t>
            </a:r>
            <a:r>
              <a:rPr lang="en-US" sz="1800" dirty="0" smtClean="0">
                <a:cs typeface="Arial" panose="020B0604020202020204" pitchFamily="34" charset="0"/>
              </a:rPr>
              <a:t>of leads, e.g., serve more leads that convert  at lower rate, given # of SMBs  to reach</a:t>
            </a:r>
          </a:p>
          <a:p>
            <a:pPr lvl="1">
              <a:spcBef>
                <a:spcPts val="200"/>
              </a:spcBef>
            </a:pPr>
            <a:r>
              <a:rPr lang="en-US" sz="1800" dirty="0" smtClean="0">
                <a:cs typeface="Arial" panose="020B0604020202020204" pitchFamily="34" charset="0"/>
              </a:rPr>
              <a:t>Deliver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arketing &amp; </a:t>
            </a:r>
            <a:r>
              <a:rPr lang="en-US" sz="1800" b="1" dirty="0" smtClean="0">
                <a:solidFill>
                  <a:schemeClr val="accent4"/>
                </a:solidFill>
              </a:rPr>
              <a:t>selling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processes that serve  SMBs, </a:t>
            </a:r>
            <a:r>
              <a:rPr lang="en-US" sz="1800" dirty="0" smtClean="0">
                <a:cs typeface="Arial" panose="020B0604020202020204" pitchFamily="34" charset="0"/>
              </a:rPr>
              <a:t>e.g., addressing shorter buying cycles, shorter  response time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, </a:t>
            </a:r>
            <a:r>
              <a:rPr lang="en-US" sz="1800" dirty="0" smtClean="0">
                <a:cs typeface="Arial" panose="020B0604020202020204" pitchFamily="34" charset="0"/>
              </a:rPr>
              <a:t>quick access to quotes, automated email  response, leveraging digital as much as possible</a:t>
            </a:r>
          </a:p>
          <a:p>
            <a:pPr lvl="1">
              <a:spcBef>
                <a:spcPts val="200"/>
              </a:spcBef>
            </a:pP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Further personalize digital </a:t>
            </a:r>
            <a:r>
              <a:rPr lang="en-US" sz="1800" b="1" dirty="0" smtClean="0">
                <a:solidFill>
                  <a:schemeClr val="accent4"/>
                </a:solidFill>
              </a:rPr>
              <a:t>marketing tactics </a:t>
            </a:r>
            <a:r>
              <a:rPr lang="en-US" sz="1800" dirty="0" smtClean="0">
                <a:cs typeface="Arial" panose="020B0604020202020204" pitchFamily="34" charset="0"/>
              </a:rPr>
              <a:t>to </a:t>
            </a:r>
            <a:r>
              <a:rPr lang="en-US" sz="18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target  SMBs </a:t>
            </a:r>
            <a:r>
              <a:rPr lang="en-US" sz="1800" dirty="0" smtClean="0">
                <a:cs typeface="Arial" panose="020B0604020202020204" pitchFamily="34" charset="0"/>
              </a:rPr>
              <a:t>e.g., home page customized by size of business,  SEM for “small business” keywords, etc.</a:t>
            </a:r>
            <a:endParaRPr lang="en-US" sz="1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95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818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 bwMode="gray">
          <a:xfrm>
            <a:off x="158759" y="230189"/>
            <a:ext cx="10509241" cy="75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434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marR="4393">
              <a:lnSpc>
                <a:spcPct val="101400"/>
              </a:lnSpc>
              <a:spcBef>
                <a:spcPts val="82"/>
              </a:spcBef>
            </a:pPr>
            <a:r>
              <a:rPr spc="9" dirty="0" smtClean="0">
                <a:latin typeface="+mn-lt"/>
              </a:rPr>
              <a:t>Demand </a:t>
            </a:r>
            <a:r>
              <a:rPr spc="9" dirty="0">
                <a:latin typeface="+mn-lt"/>
              </a:rPr>
              <a:t>Gen </a:t>
            </a:r>
            <a:r>
              <a:rPr spc="13" dirty="0">
                <a:latin typeface="+mn-lt"/>
              </a:rPr>
              <a:t>&amp; </a:t>
            </a:r>
            <a:r>
              <a:rPr spc="9" dirty="0">
                <a:latin typeface="+mn-lt"/>
              </a:rPr>
              <a:t>Lead Management </a:t>
            </a:r>
            <a:r>
              <a:rPr spc="13" dirty="0">
                <a:latin typeface="+mn-lt"/>
              </a:rPr>
              <a:t>– </a:t>
            </a:r>
            <a:r>
              <a:rPr spc="4" dirty="0">
                <a:latin typeface="+mn-lt"/>
              </a:rPr>
              <a:t>Prioritizing </a:t>
            </a:r>
            <a:r>
              <a:rPr spc="9" dirty="0">
                <a:latin typeface="+mn-lt"/>
              </a:rPr>
              <a:t>changes to </a:t>
            </a:r>
            <a:r>
              <a:rPr spc="4" dirty="0">
                <a:latin typeface="+mn-lt"/>
              </a:rPr>
              <a:t>marketing  </a:t>
            </a:r>
            <a:r>
              <a:rPr spc="9" dirty="0">
                <a:latin typeface="+mn-lt"/>
              </a:rPr>
              <a:t>channels based on </a:t>
            </a:r>
            <a:r>
              <a:rPr spc="4" dirty="0">
                <a:latin typeface="+mn-lt"/>
              </a:rPr>
              <a:t>potential for incremental leads </a:t>
            </a:r>
            <a:r>
              <a:rPr spc="13" dirty="0">
                <a:latin typeface="+mn-lt"/>
              </a:rPr>
              <a:t>– </a:t>
            </a:r>
            <a:r>
              <a:rPr lang="en-US" spc="4" dirty="0" smtClean="0">
                <a:latin typeface="+mn-lt"/>
              </a:rPr>
              <a:t>Digital</a:t>
            </a:r>
            <a:r>
              <a:rPr lang="en-US" spc="91" dirty="0" smtClean="0">
                <a:latin typeface="+mn-lt"/>
              </a:rPr>
              <a:t> </a:t>
            </a:r>
            <a:r>
              <a:rPr spc="4" dirty="0" smtClean="0">
                <a:latin typeface="+mn-lt"/>
              </a:rPr>
              <a:t>wins</a:t>
            </a:r>
            <a:r>
              <a:rPr spc="4" dirty="0">
                <a:latin typeface="+mn-lt"/>
              </a:rPr>
              <a:t>!</a:t>
            </a:r>
          </a:p>
        </p:txBody>
      </p:sp>
      <p:sp>
        <p:nvSpPr>
          <p:cNvPr id="5" name="object 5"/>
          <p:cNvSpPr/>
          <p:nvPr/>
        </p:nvSpPr>
        <p:spPr>
          <a:xfrm>
            <a:off x="6515875" y="1549493"/>
            <a:ext cx="142576" cy="148517"/>
          </a:xfrm>
          <a:custGeom>
            <a:avLst/>
            <a:gdLst/>
            <a:ahLst/>
            <a:cxnLst/>
            <a:rect l="l" t="t" r="r" b="b"/>
            <a:pathLst>
              <a:path w="121920" h="127000">
                <a:moveTo>
                  <a:pt x="0" y="0"/>
                </a:moveTo>
                <a:lnTo>
                  <a:pt x="0" y="126491"/>
                </a:lnTo>
                <a:lnTo>
                  <a:pt x="121919" y="126491"/>
                </a:lnTo>
                <a:lnTo>
                  <a:pt x="12191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AF4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6" name="object 6"/>
          <p:cNvSpPr/>
          <p:nvPr/>
        </p:nvSpPr>
        <p:spPr>
          <a:xfrm>
            <a:off x="5245167" y="1549493"/>
            <a:ext cx="142576" cy="148517"/>
          </a:xfrm>
          <a:custGeom>
            <a:avLst/>
            <a:gdLst/>
            <a:ahLst/>
            <a:cxnLst/>
            <a:rect l="l" t="t" r="r" b="b"/>
            <a:pathLst>
              <a:path w="121920" h="127000">
                <a:moveTo>
                  <a:pt x="0" y="0"/>
                </a:moveTo>
                <a:lnTo>
                  <a:pt x="0" y="126491"/>
                </a:lnTo>
                <a:lnTo>
                  <a:pt x="121919" y="126491"/>
                </a:lnTo>
                <a:lnTo>
                  <a:pt x="121919" y="0"/>
                </a:lnTo>
                <a:lnTo>
                  <a:pt x="0" y="0"/>
                </a:lnTo>
                <a:close/>
              </a:path>
            </a:pathLst>
          </a:custGeom>
          <a:solidFill>
            <a:srgbClr val="91D04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7" name="object 7"/>
          <p:cNvSpPr/>
          <p:nvPr/>
        </p:nvSpPr>
        <p:spPr>
          <a:xfrm>
            <a:off x="3963762" y="1549493"/>
            <a:ext cx="142576" cy="148517"/>
          </a:xfrm>
          <a:custGeom>
            <a:avLst/>
            <a:gdLst/>
            <a:ahLst/>
            <a:cxnLst/>
            <a:rect l="l" t="t" r="r" b="b"/>
            <a:pathLst>
              <a:path w="121920" h="127000">
                <a:moveTo>
                  <a:pt x="0" y="0"/>
                </a:moveTo>
                <a:lnTo>
                  <a:pt x="0" y="126491"/>
                </a:lnTo>
                <a:lnTo>
                  <a:pt x="121919" y="126491"/>
                </a:lnTo>
                <a:lnTo>
                  <a:pt x="121919" y="0"/>
                </a:lnTo>
                <a:lnTo>
                  <a:pt x="0" y="0"/>
                </a:lnTo>
                <a:close/>
              </a:path>
            </a:pathLst>
          </a:custGeom>
          <a:solidFill>
            <a:srgbClr val="D0EBB2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9" name="object 9"/>
          <p:cNvSpPr/>
          <p:nvPr/>
        </p:nvSpPr>
        <p:spPr>
          <a:xfrm>
            <a:off x="2680574" y="1549493"/>
            <a:ext cx="142576" cy="148517"/>
          </a:xfrm>
          <a:custGeom>
            <a:avLst/>
            <a:gdLst/>
            <a:ahLst/>
            <a:cxnLst/>
            <a:rect l="l" t="t" r="r" b="b"/>
            <a:pathLst>
              <a:path w="121919" h="127000">
                <a:moveTo>
                  <a:pt x="0" y="0"/>
                </a:moveTo>
                <a:lnTo>
                  <a:pt x="0" y="126491"/>
                </a:lnTo>
                <a:lnTo>
                  <a:pt x="121919" y="126491"/>
                </a:lnTo>
                <a:lnTo>
                  <a:pt x="1219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14" name="object 14"/>
          <p:cNvSpPr txBox="1"/>
          <p:nvPr/>
        </p:nvSpPr>
        <p:spPr>
          <a:xfrm>
            <a:off x="1247578" y="2239523"/>
            <a:ext cx="141064" cy="572662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0983">
              <a:lnSpc>
                <a:spcPts val="1072"/>
              </a:lnSpc>
            </a:pPr>
            <a:r>
              <a:rPr sz="1500" dirty="0">
                <a:solidFill>
                  <a:srgbClr val="3D3C3F"/>
                </a:solidFill>
                <a:latin typeface="Arial"/>
                <a:cs typeface="Arial"/>
              </a:rPr>
              <a:t>High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534613" y="3076841"/>
            <a:ext cx="1927007" cy="1272789"/>
          </a:xfrm>
          <a:custGeom>
            <a:avLst/>
            <a:gdLst/>
            <a:ahLst/>
            <a:cxnLst/>
            <a:rect l="l" t="t" r="r" b="b"/>
            <a:pathLst>
              <a:path w="1647825" h="1088389">
                <a:moveTo>
                  <a:pt x="0" y="0"/>
                </a:moveTo>
                <a:lnTo>
                  <a:pt x="0" y="1088135"/>
                </a:lnTo>
                <a:lnTo>
                  <a:pt x="1647443" y="1088135"/>
                </a:lnTo>
                <a:lnTo>
                  <a:pt x="1647443" y="0"/>
                </a:lnTo>
                <a:lnTo>
                  <a:pt x="0" y="0"/>
                </a:lnTo>
                <a:close/>
              </a:path>
            </a:pathLst>
          </a:custGeom>
          <a:solidFill>
            <a:srgbClr val="D0EBB2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16" name="object 16"/>
          <p:cNvSpPr/>
          <p:nvPr/>
        </p:nvSpPr>
        <p:spPr>
          <a:xfrm>
            <a:off x="1523919" y="3067931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14" y="1104899"/>
                </a:moveTo>
                <a:lnTo>
                  <a:pt x="1664214" y="0"/>
                </a:lnTo>
                <a:lnTo>
                  <a:pt x="0" y="0"/>
                </a:lnTo>
                <a:lnTo>
                  <a:pt x="0" y="1104899"/>
                </a:lnTo>
                <a:lnTo>
                  <a:pt x="9143" y="1104899"/>
                </a:lnTo>
                <a:lnTo>
                  <a:pt x="9143" y="15239"/>
                </a:lnTo>
                <a:lnTo>
                  <a:pt x="16763" y="7619"/>
                </a:lnTo>
                <a:lnTo>
                  <a:pt x="16763" y="15239"/>
                </a:lnTo>
                <a:lnTo>
                  <a:pt x="1648974" y="15239"/>
                </a:lnTo>
                <a:lnTo>
                  <a:pt x="1648974" y="7619"/>
                </a:lnTo>
                <a:lnTo>
                  <a:pt x="1656594" y="15239"/>
                </a:lnTo>
                <a:lnTo>
                  <a:pt x="1656594" y="1104899"/>
                </a:lnTo>
                <a:lnTo>
                  <a:pt x="1664214" y="1104899"/>
                </a:lnTo>
                <a:close/>
              </a:path>
              <a:path w="1664335" h="1104900">
                <a:moveTo>
                  <a:pt x="16763" y="15239"/>
                </a:moveTo>
                <a:lnTo>
                  <a:pt x="16763" y="7619"/>
                </a:lnTo>
                <a:lnTo>
                  <a:pt x="9143" y="15239"/>
                </a:lnTo>
                <a:lnTo>
                  <a:pt x="16763" y="15239"/>
                </a:lnTo>
                <a:close/>
              </a:path>
              <a:path w="1664335" h="1104900">
                <a:moveTo>
                  <a:pt x="16763" y="1088135"/>
                </a:moveTo>
                <a:lnTo>
                  <a:pt x="16763" y="15239"/>
                </a:lnTo>
                <a:lnTo>
                  <a:pt x="9143" y="15239"/>
                </a:lnTo>
                <a:lnTo>
                  <a:pt x="9143" y="1088135"/>
                </a:lnTo>
                <a:lnTo>
                  <a:pt x="16763" y="1088135"/>
                </a:lnTo>
                <a:close/>
              </a:path>
              <a:path w="1664335" h="1104900">
                <a:moveTo>
                  <a:pt x="1656594" y="1088135"/>
                </a:moveTo>
                <a:lnTo>
                  <a:pt x="9143" y="1088135"/>
                </a:lnTo>
                <a:lnTo>
                  <a:pt x="16763" y="1095755"/>
                </a:lnTo>
                <a:lnTo>
                  <a:pt x="16763" y="1104899"/>
                </a:lnTo>
                <a:lnTo>
                  <a:pt x="1648974" y="1104899"/>
                </a:lnTo>
                <a:lnTo>
                  <a:pt x="1648974" y="1095755"/>
                </a:lnTo>
                <a:lnTo>
                  <a:pt x="1656594" y="1088135"/>
                </a:lnTo>
                <a:close/>
              </a:path>
              <a:path w="1664335" h="1104900">
                <a:moveTo>
                  <a:pt x="16763" y="1104899"/>
                </a:moveTo>
                <a:lnTo>
                  <a:pt x="16763" y="1095755"/>
                </a:lnTo>
                <a:lnTo>
                  <a:pt x="9143" y="1088135"/>
                </a:lnTo>
                <a:lnTo>
                  <a:pt x="9143" y="1104899"/>
                </a:lnTo>
                <a:lnTo>
                  <a:pt x="16763" y="1104899"/>
                </a:lnTo>
                <a:close/>
              </a:path>
              <a:path w="1664335" h="1104900">
                <a:moveTo>
                  <a:pt x="1656594" y="15239"/>
                </a:moveTo>
                <a:lnTo>
                  <a:pt x="1648974" y="7619"/>
                </a:lnTo>
                <a:lnTo>
                  <a:pt x="1648974" y="15239"/>
                </a:lnTo>
                <a:lnTo>
                  <a:pt x="1656594" y="15239"/>
                </a:lnTo>
                <a:close/>
              </a:path>
              <a:path w="1664335" h="1104900">
                <a:moveTo>
                  <a:pt x="1656594" y="1088135"/>
                </a:moveTo>
                <a:lnTo>
                  <a:pt x="1656594" y="15239"/>
                </a:lnTo>
                <a:lnTo>
                  <a:pt x="1648974" y="15239"/>
                </a:lnTo>
                <a:lnTo>
                  <a:pt x="1648974" y="1088135"/>
                </a:lnTo>
                <a:lnTo>
                  <a:pt x="1656594" y="1088135"/>
                </a:lnTo>
                <a:close/>
              </a:path>
              <a:path w="1664335" h="1104900">
                <a:moveTo>
                  <a:pt x="1656594" y="1104899"/>
                </a:moveTo>
                <a:lnTo>
                  <a:pt x="1656594" y="1088135"/>
                </a:lnTo>
                <a:lnTo>
                  <a:pt x="1648974" y="1095755"/>
                </a:lnTo>
                <a:lnTo>
                  <a:pt x="1648974" y="1104899"/>
                </a:lnTo>
                <a:lnTo>
                  <a:pt x="1656594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17" name="object 17"/>
          <p:cNvSpPr/>
          <p:nvPr/>
        </p:nvSpPr>
        <p:spPr>
          <a:xfrm>
            <a:off x="3461181" y="3076841"/>
            <a:ext cx="1928492" cy="1272789"/>
          </a:xfrm>
          <a:custGeom>
            <a:avLst/>
            <a:gdLst/>
            <a:ahLst/>
            <a:cxnLst/>
            <a:rect l="l" t="t" r="r" b="b"/>
            <a:pathLst>
              <a:path w="1649095" h="1088389">
                <a:moveTo>
                  <a:pt x="0" y="0"/>
                </a:moveTo>
                <a:lnTo>
                  <a:pt x="0" y="1088135"/>
                </a:lnTo>
                <a:lnTo>
                  <a:pt x="1648967" y="1088135"/>
                </a:lnTo>
                <a:lnTo>
                  <a:pt x="1648967" y="0"/>
                </a:lnTo>
                <a:lnTo>
                  <a:pt x="0" y="0"/>
                </a:lnTo>
                <a:close/>
              </a:path>
            </a:pathLst>
          </a:custGeom>
          <a:solidFill>
            <a:srgbClr val="91D04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18" name="object 18"/>
          <p:cNvSpPr/>
          <p:nvPr/>
        </p:nvSpPr>
        <p:spPr>
          <a:xfrm>
            <a:off x="3452269" y="3067931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07" y="1104899"/>
                </a:moveTo>
                <a:lnTo>
                  <a:pt x="1664207" y="0"/>
                </a:lnTo>
                <a:lnTo>
                  <a:pt x="0" y="0"/>
                </a:lnTo>
                <a:lnTo>
                  <a:pt x="0" y="1104899"/>
                </a:lnTo>
                <a:lnTo>
                  <a:pt x="7619" y="1104899"/>
                </a:lnTo>
                <a:lnTo>
                  <a:pt x="7619" y="15239"/>
                </a:lnTo>
                <a:lnTo>
                  <a:pt x="15239" y="7619"/>
                </a:lnTo>
                <a:lnTo>
                  <a:pt x="15239" y="15239"/>
                </a:lnTo>
                <a:lnTo>
                  <a:pt x="1648967" y="15239"/>
                </a:lnTo>
                <a:lnTo>
                  <a:pt x="1648967" y="7619"/>
                </a:lnTo>
                <a:lnTo>
                  <a:pt x="1656587" y="15239"/>
                </a:lnTo>
                <a:lnTo>
                  <a:pt x="1656587" y="1104899"/>
                </a:lnTo>
                <a:lnTo>
                  <a:pt x="1664207" y="1104899"/>
                </a:lnTo>
                <a:close/>
              </a:path>
              <a:path w="1664335" h="1104900">
                <a:moveTo>
                  <a:pt x="15239" y="15239"/>
                </a:moveTo>
                <a:lnTo>
                  <a:pt x="15239" y="7619"/>
                </a:lnTo>
                <a:lnTo>
                  <a:pt x="7619" y="15239"/>
                </a:lnTo>
                <a:lnTo>
                  <a:pt x="15239" y="15239"/>
                </a:lnTo>
                <a:close/>
              </a:path>
              <a:path w="1664335" h="1104900">
                <a:moveTo>
                  <a:pt x="15239" y="1088135"/>
                </a:moveTo>
                <a:lnTo>
                  <a:pt x="15239" y="15239"/>
                </a:lnTo>
                <a:lnTo>
                  <a:pt x="7619" y="15239"/>
                </a:lnTo>
                <a:lnTo>
                  <a:pt x="7619" y="1088135"/>
                </a:lnTo>
                <a:lnTo>
                  <a:pt x="15239" y="1088135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7619" y="1088135"/>
                </a:lnTo>
                <a:lnTo>
                  <a:pt x="15239" y="1095755"/>
                </a:lnTo>
                <a:lnTo>
                  <a:pt x="15239" y="1104899"/>
                </a:lnTo>
                <a:lnTo>
                  <a:pt x="1648967" y="1104899"/>
                </a:lnTo>
                <a:lnTo>
                  <a:pt x="1648967" y="1095755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5239" y="1104899"/>
                </a:moveTo>
                <a:lnTo>
                  <a:pt x="15239" y="1095755"/>
                </a:lnTo>
                <a:lnTo>
                  <a:pt x="7619" y="1088135"/>
                </a:lnTo>
                <a:lnTo>
                  <a:pt x="7619" y="1104899"/>
                </a:lnTo>
                <a:lnTo>
                  <a:pt x="15239" y="1104899"/>
                </a:lnTo>
                <a:close/>
              </a:path>
              <a:path w="1664335" h="1104900">
                <a:moveTo>
                  <a:pt x="1656587" y="15239"/>
                </a:moveTo>
                <a:lnTo>
                  <a:pt x="1648967" y="7619"/>
                </a:lnTo>
                <a:lnTo>
                  <a:pt x="1648967" y="15239"/>
                </a:lnTo>
                <a:lnTo>
                  <a:pt x="1656587" y="15239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1656587" y="15239"/>
                </a:lnTo>
                <a:lnTo>
                  <a:pt x="1648967" y="15239"/>
                </a:lnTo>
                <a:lnTo>
                  <a:pt x="1648967" y="1088135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656587" y="1104899"/>
                </a:moveTo>
                <a:lnTo>
                  <a:pt x="1656587" y="1088135"/>
                </a:lnTo>
                <a:lnTo>
                  <a:pt x="1648967" y="1095755"/>
                </a:lnTo>
                <a:lnTo>
                  <a:pt x="1648967" y="1104899"/>
                </a:lnTo>
                <a:lnTo>
                  <a:pt x="1656587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19" name="object 19"/>
          <p:cNvSpPr/>
          <p:nvPr/>
        </p:nvSpPr>
        <p:spPr>
          <a:xfrm>
            <a:off x="3461181" y="1806130"/>
            <a:ext cx="1928492" cy="1274274"/>
          </a:xfrm>
          <a:custGeom>
            <a:avLst/>
            <a:gdLst/>
            <a:ahLst/>
            <a:cxnLst/>
            <a:rect l="l" t="t" r="r" b="b"/>
            <a:pathLst>
              <a:path w="1649095" h="1089660">
                <a:moveTo>
                  <a:pt x="0" y="0"/>
                </a:moveTo>
                <a:lnTo>
                  <a:pt x="0" y="1089659"/>
                </a:lnTo>
                <a:lnTo>
                  <a:pt x="1648967" y="1089659"/>
                </a:lnTo>
                <a:lnTo>
                  <a:pt x="1648967" y="0"/>
                </a:lnTo>
                <a:lnTo>
                  <a:pt x="0" y="0"/>
                </a:lnTo>
                <a:close/>
              </a:path>
            </a:pathLst>
          </a:custGeom>
          <a:solidFill>
            <a:srgbClr val="91D04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0" name="object 20"/>
          <p:cNvSpPr/>
          <p:nvPr/>
        </p:nvSpPr>
        <p:spPr>
          <a:xfrm>
            <a:off x="3452269" y="1797219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07" y="1104899"/>
                </a:moveTo>
                <a:lnTo>
                  <a:pt x="1664207" y="0"/>
                </a:lnTo>
                <a:lnTo>
                  <a:pt x="0" y="0"/>
                </a:lnTo>
                <a:lnTo>
                  <a:pt x="0" y="1104899"/>
                </a:lnTo>
                <a:lnTo>
                  <a:pt x="7619" y="1104899"/>
                </a:lnTo>
                <a:lnTo>
                  <a:pt x="7619" y="16763"/>
                </a:lnTo>
                <a:lnTo>
                  <a:pt x="15239" y="7619"/>
                </a:lnTo>
                <a:lnTo>
                  <a:pt x="15239" y="16763"/>
                </a:lnTo>
                <a:lnTo>
                  <a:pt x="1648967" y="16763"/>
                </a:lnTo>
                <a:lnTo>
                  <a:pt x="1648967" y="7619"/>
                </a:lnTo>
                <a:lnTo>
                  <a:pt x="1656587" y="16763"/>
                </a:lnTo>
                <a:lnTo>
                  <a:pt x="1656587" y="1104899"/>
                </a:lnTo>
                <a:lnTo>
                  <a:pt x="1664207" y="1104899"/>
                </a:lnTo>
                <a:close/>
              </a:path>
              <a:path w="1664335" h="1104900">
                <a:moveTo>
                  <a:pt x="15239" y="16763"/>
                </a:moveTo>
                <a:lnTo>
                  <a:pt x="15239" y="7619"/>
                </a:lnTo>
                <a:lnTo>
                  <a:pt x="7619" y="16763"/>
                </a:lnTo>
                <a:lnTo>
                  <a:pt x="15239" y="16763"/>
                </a:lnTo>
                <a:close/>
              </a:path>
              <a:path w="1664335" h="1104900">
                <a:moveTo>
                  <a:pt x="15239" y="1088135"/>
                </a:moveTo>
                <a:lnTo>
                  <a:pt x="15239" y="16763"/>
                </a:lnTo>
                <a:lnTo>
                  <a:pt x="7619" y="16763"/>
                </a:lnTo>
                <a:lnTo>
                  <a:pt x="7619" y="1088135"/>
                </a:lnTo>
                <a:lnTo>
                  <a:pt x="15239" y="1088135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7619" y="1088135"/>
                </a:lnTo>
                <a:lnTo>
                  <a:pt x="15239" y="1097279"/>
                </a:lnTo>
                <a:lnTo>
                  <a:pt x="15239" y="1104899"/>
                </a:lnTo>
                <a:lnTo>
                  <a:pt x="1648967" y="1104899"/>
                </a:lnTo>
                <a:lnTo>
                  <a:pt x="1648967" y="1097279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5239" y="1104899"/>
                </a:moveTo>
                <a:lnTo>
                  <a:pt x="15239" y="1097279"/>
                </a:lnTo>
                <a:lnTo>
                  <a:pt x="7619" y="1088135"/>
                </a:lnTo>
                <a:lnTo>
                  <a:pt x="7619" y="1104899"/>
                </a:lnTo>
                <a:lnTo>
                  <a:pt x="15239" y="1104899"/>
                </a:lnTo>
                <a:close/>
              </a:path>
              <a:path w="1664335" h="1104900">
                <a:moveTo>
                  <a:pt x="1656587" y="16763"/>
                </a:moveTo>
                <a:lnTo>
                  <a:pt x="1648967" y="7619"/>
                </a:lnTo>
                <a:lnTo>
                  <a:pt x="1648967" y="16763"/>
                </a:lnTo>
                <a:lnTo>
                  <a:pt x="1656587" y="16763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1656587" y="16763"/>
                </a:lnTo>
                <a:lnTo>
                  <a:pt x="1648967" y="16763"/>
                </a:lnTo>
                <a:lnTo>
                  <a:pt x="1648967" y="1088135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656587" y="1104899"/>
                </a:moveTo>
                <a:lnTo>
                  <a:pt x="1656587" y="1088135"/>
                </a:lnTo>
                <a:lnTo>
                  <a:pt x="1648967" y="1097279"/>
                </a:lnTo>
                <a:lnTo>
                  <a:pt x="1648967" y="1104899"/>
                </a:lnTo>
                <a:lnTo>
                  <a:pt x="1656587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1" name="object 21"/>
          <p:cNvSpPr/>
          <p:nvPr/>
        </p:nvSpPr>
        <p:spPr>
          <a:xfrm>
            <a:off x="1534613" y="1806130"/>
            <a:ext cx="1927007" cy="1274274"/>
          </a:xfrm>
          <a:custGeom>
            <a:avLst/>
            <a:gdLst/>
            <a:ahLst/>
            <a:cxnLst/>
            <a:rect l="l" t="t" r="r" b="b"/>
            <a:pathLst>
              <a:path w="1647825" h="1089660">
                <a:moveTo>
                  <a:pt x="0" y="0"/>
                </a:moveTo>
                <a:lnTo>
                  <a:pt x="0" y="1089659"/>
                </a:lnTo>
                <a:lnTo>
                  <a:pt x="1647443" y="1089659"/>
                </a:lnTo>
                <a:lnTo>
                  <a:pt x="1647443" y="0"/>
                </a:lnTo>
                <a:lnTo>
                  <a:pt x="0" y="0"/>
                </a:lnTo>
                <a:close/>
              </a:path>
            </a:pathLst>
          </a:custGeom>
          <a:solidFill>
            <a:srgbClr val="D0EBB2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2" name="object 22"/>
          <p:cNvSpPr/>
          <p:nvPr/>
        </p:nvSpPr>
        <p:spPr>
          <a:xfrm>
            <a:off x="1523919" y="1797219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14" y="1104899"/>
                </a:moveTo>
                <a:lnTo>
                  <a:pt x="1664214" y="0"/>
                </a:lnTo>
                <a:lnTo>
                  <a:pt x="0" y="0"/>
                </a:lnTo>
                <a:lnTo>
                  <a:pt x="0" y="1104899"/>
                </a:lnTo>
                <a:lnTo>
                  <a:pt x="9143" y="1104899"/>
                </a:lnTo>
                <a:lnTo>
                  <a:pt x="9143" y="16763"/>
                </a:lnTo>
                <a:lnTo>
                  <a:pt x="16763" y="7619"/>
                </a:lnTo>
                <a:lnTo>
                  <a:pt x="16763" y="16763"/>
                </a:lnTo>
                <a:lnTo>
                  <a:pt x="1648974" y="16763"/>
                </a:lnTo>
                <a:lnTo>
                  <a:pt x="1648974" y="7619"/>
                </a:lnTo>
                <a:lnTo>
                  <a:pt x="1656594" y="16763"/>
                </a:lnTo>
                <a:lnTo>
                  <a:pt x="1656594" y="1104899"/>
                </a:lnTo>
                <a:lnTo>
                  <a:pt x="1664214" y="1104899"/>
                </a:lnTo>
                <a:close/>
              </a:path>
              <a:path w="1664335" h="1104900">
                <a:moveTo>
                  <a:pt x="16763" y="16763"/>
                </a:moveTo>
                <a:lnTo>
                  <a:pt x="16763" y="7619"/>
                </a:lnTo>
                <a:lnTo>
                  <a:pt x="9143" y="16763"/>
                </a:lnTo>
                <a:lnTo>
                  <a:pt x="16763" y="16763"/>
                </a:lnTo>
                <a:close/>
              </a:path>
              <a:path w="1664335" h="1104900">
                <a:moveTo>
                  <a:pt x="16763" y="1088135"/>
                </a:moveTo>
                <a:lnTo>
                  <a:pt x="16763" y="16763"/>
                </a:lnTo>
                <a:lnTo>
                  <a:pt x="9143" y="16763"/>
                </a:lnTo>
                <a:lnTo>
                  <a:pt x="9143" y="1088135"/>
                </a:lnTo>
                <a:lnTo>
                  <a:pt x="16763" y="1088135"/>
                </a:lnTo>
                <a:close/>
              </a:path>
              <a:path w="1664335" h="1104900">
                <a:moveTo>
                  <a:pt x="1656594" y="1088135"/>
                </a:moveTo>
                <a:lnTo>
                  <a:pt x="9143" y="1088135"/>
                </a:lnTo>
                <a:lnTo>
                  <a:pt x="16763" y="1097279"/>
                </a:lnTo>
                <a:lnTo>
                  <a:pt x="16763" y="1104899"/>
                </a:lnTo>
                <a:lnTo>
                  <a:pt x="1648974" y="1104899"/>
                </a:lnTo>
                <a:lnTo>
                  <a:pt x="1648974" y="1097279"/>
                </a:lnTo>
                <a:lnTo>
                  <a:pt x="1656594" y="1088135"/>
                </a:lnTo>
                <a:close/>
              </a:path>
              <a:path w="1664335" h="1104900">
                <a:moveTo>
                  <a:pt x="16763" y="1104899"/>
                </a:moveTo>
                <a:lnTo>
                  <a:pt x="16763" y="1097279"/>
                </a:lnTo>
                <a:lnTo>
                  <a:pt x="9143" y="1088135"/>
                </a:lnTo>
                <a:lnTo>
                  <a:pt x="9143" y="1104899"/>
                </a:lnTo>
                <a:lnTo>
                  <a:pt x="16763" y="1104899"/>
                </a:lnTo>
                <a:close/>
              </a:path>
              <a:path w="1664335" h="1104900">
                <a:moveTo>
                  <a:pt x="1656594" y="16763"/>
                </a:moveTo>
                <a:lnTo>
                  <a:pt x="1648974" y="7619"/>
                </a:lnTo>
                <a:lnTo>
                  <a:pt x="1648974" y="16763"/>
                </a:lnTo>
                <a:lnTo>
                  <a:pt x="1656594" y="16763"/>
                </a:lnTo>
                <a:close/>
              </a:path>
              <a:path w="1664335" h="1104900">
                <a:moveTo>
                  <a:pt x="1656594" y="1088135"/>
                </a:moveTo>
                <a:lnTo>
                  <a:pt x="1656594" y="16763"/>
                </a:lnTo>
                <a:lnTo>
                  <a:pt x="1648974" y="16763"/>
                </a:lnTo>
                <a:lnTo>
                  <a:pt x="1648974" y="1088135"/>
                </a:lnTo>
                <a:lnTo>
                  <a:pt x="1656594" y="1088135"/>
                </a:lnTo>
                <a:close/>
              </a:path>
              <a:path w="1664335" h="1104900">
                <a:moveTo>
                  <a:pt x="1656594" y="1104899"/>
                </a:moveTo>
                <a:lnTo>
                  <a:pt x="1656594" y="1088135"/>
                </a:lnTo>
                <a:lnTo>
                  <a:pt x="1648974" y="1097279"/>
                </a:lnTo>
                <a:lnTo>
                  <a:pt x="1648974" y="1104899"/>
                </a:lnTo>
                <a:lnTo>
                  <a:pt x="1656594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3" name="object 23"/>
          <p:cNvSpPr/>
          <p:nvPr/>
        </p:nvSpPr>
        <p:spPr>
          <a:xfrm>
            <a:off x="3461181" y="4352898"/>
            <a:ext cx="1928492" cy="1272789"/>
          </a:xfrm>
          <a:custGeom>
            <a:avLst/>
            <a:gdLst/>
            <a:ahLst/>
            <a:cxnLst/>
            <a:rect l="l" t="t" r="r" b="b"/>
            <a:pathLst>
              <a:path w="1649095" h="1088389">
                <a:moveTo>
                  <a:pt x="0" y="0"/>
                </a:moveTo>
                <a:lnTo>
                  <a:pt x="0" y="1088135"/>
                </a:lnTo>
                <a:lnTo>
                  <a:pt x="1648967" y="1088135"/>
                </a:lnTo>
                <a:lnTo>
                  <a:pt x="1648967" y="0"/>
                </a:lnTo>
                <a:lnTo>
                  <a:pt x="0" y="0"/>
                </a:lnTo>
                <a:close/>
              </a:path>
            </a:pathLst>
          </a:custGeom>
          <a:solidFill>
            <a:srgbClr val="D0EBB2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4" name="object 24"/>
          <p:cNvSpPr/>
          <p:nvPr/>
        </p:nvSpPr>
        <p:spPr>
          <a:xfrm>
            <a:off x="3452269" y="4343987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07" y="1104899"/>
                </a:moveTo>
                <a:lnTo>
                  <a:pt x="1664207" y="0"/>
                </a:lnTo>
                <a:lnTo>
                  <a:pt x="0" y="0"/>
                </a:lnTo>
                <a:lnTo>
                  <a:pt x="0" y="1104899"/>
                </a:lnTo>
                <a:lnTo>
                  <a:pt x="7619" y="1104899"/>
                </a:lnTo>
                <a:lnTo>
                  <a:pt x="7619" y="15239"/>
                </a:lnTo>
                <a:lnTo>
                  <a:pt x="15239" y="7619"/>
                </a:lnTo>
                <a:lnTo>
                  <a:pt x="15239" y="15239"/>
                </a:lnTo>
                <a:lnTo>
                  <a:pt x="1648967" y="15239"/>
                </a:lnTo>
                <a:lnTo>
                  <a:pt x="1648967" y="7619"/>
                </a:lnTo>
                <a:lnTo>
                  <a:pt x="1656587" y="15239"/>
                </a:lnTo>
                <a:lnTo>
                  <a:pt x="1656587" y="1104899"/>
                </a:lnTo>
                <a:lnTo>
                  <a:pt x="1664207" y="1104899"/>
                </a:lnTo>
                <a:close/>
              </a:path>
              <a:path w="1664335" h="1104900">
                <a:moveTo>
                  <a:pt x="15239" y="15239"/>
                </a:moveTo>
                <a:lnTo>
                  <a:pt x="15239" y="7619"/>
                </a:lnTo>
                <a:lnTo>
                  <a:pt x="7619" y="15239"/>
                </a:lnTo>
                <a:lnTo>
                  <a:pt x="15239" y="15239"/>
                </a:lnTo>
                <a:close/>
              </a:path>
              <a:path w="1664335" h="1104900">
                <a:moveTo>
                  <a:pt x="15239" y="1088135"/>
                </a:moveTo>
                <a:lnTo>
                  <a:pt x="15239" y="15239"/>
                </a:lnTo>
                <a:lnTo>
                  <a:pt x="7619" y="15239"/>
                </a:lnTo>
                <a:lnTo>
                  <a:pt x="7619" y="1088135"/>
                </a:lnTo>
                <a:lnTo>
                  <a:pt x="15239" y="1088135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7619" y="1088135"/>
                </a:lnTo>
                <a:lnTo>
                  <a:pt x="15239" y="1095755"/>
                </a:lnTo>
                <a:lnTo>
                  <a:pt x="15239" y="1104899"/>
                </a:lnTo>
                <a:lnTo>
                  <a:pt x="1648967" y="1104899"/>
                </a:lnTo>
                <a:lnTo>
                  <a:pt x="1648967" y="1095755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5239" y="1104899"/>
                </a:moveTo>
                <a:lnTo>
                  <a:pt x="15239" y="1095755"/>
                </a:lnTo>
                <a:lnTo>
                  <a:pt x="7619" y="1088135"/>
                </a:lnTo>
                <a:lnTo>
                  <a:pt x="7619" y="1104899"/>
                </a:lnTo>
                <a:lnTo>
                  <a:pt x="15239" y="1104899"/>
                </a:lnTo>
                <a:close/>
              </a:path>
              <a:path w="1664335" h="1104900">
                <a:moveTo>
                  <a:pt x="1656587" y="15239"/>
                </a:moveTo>
                <a:lnTo>
                  <a:pt x="1648967" y="7619"/>
                </a:lnTo>
                <a:lnTo>
                  <a:pt x="1648967" y="15239"/>
                </a:lnTo>
                <a:lnTo>
                  <a:pt x="1656587" y="15239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1656587" y="15239"/>
                </a:lnTo>
                <a:lnTo>
                  <a:pt x="1648967" y="15239"/>
                </a:lnTo>
                <a:lnTo>
                  <a:pt x="1648967" y="1088135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656587" y="1104899"/>
                </a:moveTo>
                <a:lnTo>
                  <a:pt x="1656587" y="1088135"/>
                </a:lnTo>
                <a:lnTo>
                  <a:pt x="1648967" y="1095755"/>
                </a:lnTo>
                <a:lnTo>
                  <a:pt x="1648967" y="1104899"/>
                </a:lnTo>
                <a:lnTo>
                  <a:pt x="1656587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5" name="object 25"/>
          <p:cNvSpPr/>
          <p:nvPr/>
        </p:nvSpPr>
        <p:spPr>
          <a:xfrm>
            <a:off x="1534613" y="4352898"/>
            <a:ext cx="1927007" cy="1272789"/>
          </a:xfrm>
          <a:custGeom>
            <a:avLst/>
            <a:gdLst/>
            <a:ahLst/>
            <a:cxnLst/>
            <a:rect l="l" t="t" r="r" b="b"/>
            <a:pathLst>
              <a:path w="1647825" h="1088389">
                <a:moveTo>
                  <a:pt x="0" y="0"/>
                </a:moveTo>
                <a:lnTo>
                  <a:pt x="0" y="1088135"/>
                </a:lnTo>
                <a:lnTo>
                  <a:pt x="1647443" y="1088135"/>
                </a:lnTo>
                <a:lnTo>
                  <a:pt x="1647443" y="0"/>
                </a:lnTo>
                <a:lnTo>
                  <a:pt x="0" y="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6" name="object 26"/>
          <p:cNvSpPr/>
          <p:nvPr/>
        </p:nvSpPr>
        <p:spPr>
          <a:xfrm>
            <a:off x="1523919" y="4343987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14" y="1104899"/>
                </a:moveTo>
                <a:lnTo>
                  <a:pt x="1664214" y="0"/>
                </a:lnTo>
                <a:lnTo>
                  <a:pt x="0" y="0"/>
                </a:lnTo>
                <a:lnTo>
                  <a:pt x="0" y="1104899"/>
                </a:lnTo>
                <a:lnTo>
                  <a:pt x="9143" y="1104899"/>
                </a:lnTo>
                <a:lnTo>
                  <a:pt x="9143" y="15239"/>
                </a:lnTo>
                <a:lnTo>
                  <a:pt x="16763" y="7619"/>
                </a:lnTo>
                <a:lnTo>
                  <a:pt x="16763" y="15239"/>
                </a:lnTo>
                <a:lnTo>
                  <a:pt x="1648974" y="15239"/>
                </a:lnTo>
                <a:lnTo>
                  <a:pt x="1648974" y="7619"/>
                </a:lnTo>
                <a:lnTo>
                  <a:pt x="1656594" y="15239"/>
                </a:lnTo>
                <a:lnTo>
                  <a:pt x="1656594" y="1104899"/>
                </a:lnTo>
                <a:lnTo>
                  <a:pt x="1664214" y="1104899"/>
                </a:lnTo>
                <a:close/>
              </a:path>
              <a:path w="1664335" h="1104900">
                <a:moveTo>
                  <a:pt x="16763" y="15239"/>
                </a:moveTo>
                <a:lnTo>
                  <a:pt x="16763" y="7619"/>
                </a:lnTo>
                <a:lnTo>
                  <a:pt x="9143" y="15239"/>
                </a:lnTo>
                <a:lnTo>
                  <a:pt x="16763" y="15239"/>
                </a:lnTo>
                <a:close/>
              </a:path>
              <a:path w="1664335" h="1104900">
                <a:moveTo>
                  <a:pt x="16763" y="1088135"/>
                </a:moveTo>
                <a:lnTo>
                  <a:pt x="16763" y="15239"/>
                </a:lnTo>
                <a:lnTo>
                  <a:pt x="9143" y="15239"/>
                </a:lnTo>
                <a:lnTo>
                  <a:pt x="9143" y="1088135"/>
                </a:lnTo>
                <a:lnTo>
                  <a:pt x="16763" y="1088135"/>
                </a:lnTo>
                <a:close/>
              </a:path>
              <a:path w="1664335" h="1104900">
                <a:moveTo>
                  <a:pt x="1656594" y="1088135"/>
                </a:moveTo>
                <a:lnTo>
                  <a:pt x="9143" y="1088135"/>
                </a:lnTo>
                <a:lnTo>
                  <a:pt x="16763" y="1095755"/>
                </a:lnTo>
                <a:lnTo>
                  <a:pt x="16763" y="1104899"/>
                </a:lnTo>
                <a:lnTo>
                  <a:pt x="1648974" y="1104899"/>
                </a:lnTo>
                <a:lnTo>
                  <a:pt x="1648974" y="1095755"/>
                </a:lnTo>
                <a:lnTo>
                  <a:pt x="1656594" y="1088135"/>
                </a:lnTo>
                <a:close/>
              </a:path>
              <a:path w="1664335" h="1104900">
                <a:moveTo>
                  <a:pt x="16763" y="1104899"/>
                </a:moveTo>
                <a:lnTo>
                  <a:pt x="16763" y="1095755"/>
                </a:lnTo>
                <a:lnTo>
                  <a:pt x="9143" y="1088135"/>
                </a:lnTo>
                <a:lnTo>
                  <a:pt x="9143" y="1104899"/>
                </a:lnTo>
                <a:lnTo>
                  <a:pt x="16763" y="1104899"/>
                </a:lnTo>
                <a:close/>
              </a:path>
              <a:path w="1664335" h="1104900">
                <a:moveTo>
                  <a:pt x="1656594" y="15239"/>
                </a:moveTo>
                <a:lnTo>
                  <a:pt x="1648974" y="7619"/>
                </a:lnTo>
                <a:lnTo>
                  <a:pt x="1648974" y="15239"/>
                </a:lnTo>
                <a:lnTo>
                  <a:pt x="1656594" y="15239"/>
                </a:lnTo>
                <a:close/>
              </a:path>
              <a:path w="1664335" h="1104900">
                <a:moveTo>
                  <a:pt x="1656594" y="1088135"/>
                </a:moveTo>
                <a:lnTo>
                  <a:pt x="1656594" y="15239"/>
                </a:lnTo>
                <a:lnTo>
                  <a:pt x="1648974" y="15239"/>
                </a:lnTo>
                <a:lnTo>
                  <a:pt x="1648974" y="1088135"/>
                </a:lnTo>
                <a:lnTo>
                  <a:pt x="1656594" y="1088135"/>
                </a:lnTo>
                <a:close/>
              </a:path>
              <a:path w="1664335" h="1104900">
                <a:moveTo>
                  <a:pt x="1656594" y="1104899"/>
                </a:moveTo>
                <a:lnTo>
                  <a:pt x="1656594" y="1088135"/>
                </a:lnTo>
                <a:lnTo>
                  <a:pt x="1648974" y="1095755"/>
                </a:lnTo>
                <a:lnTo>
                  <a:pt x="1648974" y="1104899"/>
                </a:lnTo>
                <a:lnTo>
                  <a:pt x="1656594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7" name="object 27"/>
          <p:cNvSpPr txBox="1"/>
          <p:nvPr/>
        </p:nvSpPr>
        <p:spPr>
          <a:xfrm>
            <a:off x="1905310" y="4863794"/>
            <a:ext cx="1180710" cy="444750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>
              <a:spcBef>
                <a:spcPts val="108"/>
              </a:spcBef>
            </a:pPr>
            <a:r>
              <a:rPr sz="1400" spc="4" dirty="0">
                <a:solidFill>
                  <a:srgbClr val="3D3C3F"/>
                </a:solidFill>
                <a:latin typeface="Arial"/>
                <a:cs typeface="Arial"/>
              </a:rPr>
              <a:t>Outbound</a:t>
            </a:r>
            <a:r>
              <a:rPr sz="1400" spc="-69" dirty="0">
                <a:solidFill>
                  <a:srgbClr val="3D3C3F"/>
                </a:solidFill>
                <a:latin typeface="Arial"/>
                <a:cs typeface="Arial"/>
              </a:rPr>
              <a:t> </a:t>
            </a:r>
            <a:r>
              <a:rPr sz="1400" spc="4" dirty="0">
                <a:solidFill>
                  <a:srgbClr val="3D3C3F"/>
                </a:solidFill>
                <a:latin typeface="Arial"/>
                <a:cs typeface="Arial"/>
              </a:rPr>
              <a:t>call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385960" y="3073277"/>
            <a:ext cx="1928492" cy="1276503"/>
          </a:xfrm>
          <a:custGeom>
            <a:avLst/>
            <a:gdLst/>
            <a:ahLst/>
            <a:cxnLst/>
            <a:rect l="l" t="t" r="r" b="b"/>
            <a:pathLst>
              <a:path w="1649095" h="1091564">
                <a:moveTo>
                  <a:pt x="0" y="0"/>
                </a:moveTo>
                <a:lnTo>
                  <a:pt x="0" y="1091183"/>
                </a:lnTo>
                <a:lnTo>
                  <a:pt x="1648967" y="1091183"/>
                </a:lnTo>
                <a:lnTo>
                  <a:pt x="1648967" y="0"/>
                </a:lnTo>
                <a:lnTo>
                  <a:pt x="0" y="0"/>
                </a:lnTo>
                <a:close/>
              </a:path>
            </a:pathLst>
          </a:custGeom>
          <a:solidFill>
            <a:srgbClr val="91D04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29" name="object 29"/>
          <p:cNvSpPr/>
          <p:nvPr/>
        </p:nvSpPr>
        <p:spPr>
          <a:xfrm>
            <a:off x="5377051" y="3064367"/>
            <a:ext cx="1946314" cy="1295809"/>
          </a:xfrm>
          <a:custGeom>
            <a:avLst/>
            <a:gdLst/>
            <a:ahLst/>
            <a:cxnLst/>
            <a:rect l="l" t="t" r="r" b="b"/>
            <a:pathLst>
              <a:path w="1664335" h="1108075">
                <a:moveTo>
                  <a:pt x="1664207" y="1107947"/>
                </a:moveTo>
                <a:lnTo>
                  <a:pt x="1664207" y="0"/>
                </a:lnTo>
                <a:lnTo>
                  <a:pt x="0" y="0"/>
                </a:lnTo>
                <a:lnTo>
                  <a:pt x="0" y="1107947"/>
                </a:lnTo>
                <a:lnTo>
                  <a:pt x="7619" y="1107947"/>
                </a:lnTo>
                <a:lnTo>
                  <a:pt x="7619" y="16763"/>
                </a:lnTo>
                <a:lnTo>
                  <a:pt x="15239" y="7619"/>
                </a:lnTo>
                <a:lnTo>
                  <a:pt x="15239" y="16763"/>
                </a:lnTo>
                <a:lnTo>
                  <a:pt x="1647443" y="16763"/>
                </a:lnTo>
                <a:lnTo>
                  <a:pt x="1647443" y="7619"/>
                </a:lnTo>
                <a:lnTo>
                  <a:pt x="1656587" y="16763"/>
                </a:lnTo>
                <a:lnTo>
                  <a:pt x="1656587" y="1107947"/>
                </a:lnTo>
                <a:lnTo>
                  <a:pt x="1664207" y="1107947"/>
                </a:lnTo>
                <a:close/>
              </a:path>
              <a:path w="1664335" h="1108075">
                <a:moveTo>
                  <a:pt x="15239" y="16763"/>
                </a:moveTo>
                <a:lnTo>
                  <a:pt x="15239" y="7619"/>
                </a:lnTo>
                <a:lnTo>
                  <a:pt x="7619" y="16763"/>
                </a:lnTo>
                <a:lnTo>
                  <a:pt x="15239" y="16763"/>
                </a:lnTo>
                <a:close/>
              </a:path>
              <a:path w="1664335" h="1108075">
                <a:moveTo>
                  <a:pt x="15239" y="1091183"/>
                </a:moveTo>
                <a:lnTo>
                  <a:pt x="15239" y="16763"/>
                </a:lnTo>
                <a:lnTo>
                  <a:pt x="7619" y="16763"/>
                </a:lnTo>
                <a:lnTo>
                  <a:pt x="7619" y="1091183"/>
                </a:lnTo>
                <a:lnTo>
                  <a:pt x="15239" y="1091183"/>
                </a:lnTo>
                <a:close/>
              </a:path>
              <a:path w="1664335" h="1108075">
                <a:moveTo>
                  <a:pt x="1656587" y="1091183"/>
                </a:moveTo>
                <a:lnTo>
                  <a:pt x="7619" y="1091183"/>
                </a:lnTo>
                <a:lnTo>
                  <a:pt x="15239" y="1098803"/>
                </a:lnTo>
                <a:lnTo>
                  <a:pt x="15239" y="1107947"/>
                </a:lnTo>
                <a:lnTo>
                  <a:pt x="1647443" y="1107947"/>
                </a:lnTo>
                <a:lnTo>
                  <a:pt x="1647443" y="1098803"/>
                </a:lnTo>
                <a:lnTo>
                  <a:pt x="1656587" y="1091183"/>
                </a:lnTo>
                <a:close/>
              </a:path>
              <a:path w="1664335" h="1108075">
                <a:moveTo>
                  <a:pt x="15239" y="1107947"/>
                </a:moveTo>
                <a:lnTo>
                  <a:pt x="15239" y="1098803"/>
                </a:lnTo>
                <a:lnTo>
                  <a:pt x="7619" y="1091183"/>
                </a:lnTo>
                <a:lnTo>
                  <a:pt x="7619" y="1107947"/>
                </a:lnTo>
                <a:lnTo>
                  <a:pt x="15239" y="1107947"/>
                </a:lnTo>
                <a:close/>
              </a:path>
              <a:path w="1664335" h="1108075">
                <a:moveTo>
                  <a:pt x="1656587" y="16763"/>
                </a:moveTo>
                <a:lnTo>
                  <a:pt x="1647443" y="7619"/>
                </a:lnTo>
                <a:lnTo>
                  <a:pt x="1647443" y="16763"/>
                </a:lnTo>
                <a:lnTo>
                  <a:pt x="1656587" y="16763"/>
                </a:lnTo>
                <a:close/>
              </a:path>
              <a:path w="1664335" h="1108075">
                <a:moveTo>
                  <a:pt x="1656587" y="1091183"/>
                </a:moveTo>
                <a:lnTo>
                  <a:pt x="1656587" y="16763"/>
                </a:lnTo>
                <a:lnTo>
                  <a:pt x="1647443" y="16763"/>
                </a:lnTo>
                <a:lnTo>
                  <a:pt x="1647443" y="1091183"/>
                </a:lnTo>
                <a:lnTo>
                  <a:pt x="1656587" y="1091183"/>
                </a:lnTo>
                <a:close/>
              </a:path>
              <a:path w="1664335" h="1108075">
                <a:moveTo>
                  <a:pt x="1656587" y="1107947"/>
                </a:moveTo>
                <a:lnTo>
                  <a:pt x="1656587" y="1091183"/>
                </a:lnTo>
                <a:lnTo>
                  <a:pt x="1647443" y="1098803"/>
                </a:lnTo>
                <a:lnTo>
                  <a:pt x="1647443" y="1107947"/>
                </a:lnTo>
                <a:lnTo>
                  <a:pt x="1656587" y="11079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31" name="object 31"/>
          <p:cNvSpPr/>
          <p:nvPr/>
        </p:nvSpPr>
        <p:spPr>
          <a:xfrm>
            <a:off x="5385960" y="1806130"/>
            <a:ext cx="1928492" cy="1274274"/>
          </a:xfrm>
          <a:custGeom>
            <a:avLst/>
            <a:gdLst/>
            <a:ahLst/>
            <a:cxnLst/>
            <a:rect l="l" t="t" r="r" b="b"/>
            <a:pathLst>
              <a:path w="1649095" h="1089660">
                <a:moveTo>
                  <a:pt x="0" y="0"/>
                </a:moveTo>
                <a:lnTo>
                  <a:pt x="0" y="1089659"/>
                </a:lnTo>
                <a:lnTo>
                  <a:pt x="1648967" y="1089659"/>
                </a:lnTo>
                <a:lnTo>
                  <a:pt x="164896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AF4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32" name="object 32"/>
          <p:cNvSpPr/>
          <p:nvPr/>
        </p:nvSpPr>
        <p:spPr>
          <a:xfrm>
            <a:off x="5377051" y="1797219"/>
            <a:ext cx="1946314" cy="1292097"/>
          </a:xfrm>
          <a:custGeom>
            <a:avLst/>
            <a:gdLst/>
            <a:ahLst/>
            <a:cxnLst/>
            <a:rect l="l" t="t" r="r" b="b"/>
            <a:pathLst>
              <a:path w="1664335" h="1104900">
                <a:moveTo>
                  <a:pt x="1664207" y="1104899"/>
                </a:moveTo>
                <a:lnTo>
                  <a:pt x="1664207" y="0"/>
                </a:lnTo>
                <a:lnTo>
                  <a:pt x="0" y="0"/>
                </a:lnTo>
                <a:lnTo>
                  <a:pt x="0" y="1104899"/>
                </a:lnTo>
                <a:lnTo>
                  <a:pt x="7619" y="1104899"/>
                </a:lnTo>
                <a:lnTo>
                  <a:pt x="7619" y="16763"/>
                </a:lnTo>
                <a:lnTo>
                  <a:pt x="15239" y="7619"/>
                </a:lnTo>
                <a:lnTo>
                  <a:pt x="15239" y="16763"/>
                </a:lnTo>
                <a:lnTo>
                  <a:pt x="1647443" y="16763"/>
                </a:lnTo>
                <a:lnTo>
                  <a:pt x="1647443" y="7619"/>
                </a:lnTo>
                <a:lnTo>
                  <a:pt x="1656587" y="16763"/>
                </a:lnTo>
                <a:lnTo>
                  <a:pt x="1656587" y="1104899"/>
                </a:lnTo>
                <a:lnTo>
                  <a:pt x="1664207" y="1104899"/>
                </a:lnTo>
                <a:close/>
              </a:path>
              <a:path w="1664335" h="1104900">
                <a:moveTo>
                  <a:pt x="15239" y="16763"/>
                </a:moveTo>
                <a:lnTo>
                  <a:pt x="15239" y="7619"/>
                </a:lnTo>
                <a:lnTo>
                  <a:pt x="7619" y="16763"/>
                </a:lnTo>
                <a:lnTo>
                  <a:pt x="15239" y="16763"/>
                </a:lnTo>
                <a:close/>
              </a:path>
              <a:path w="1664335" h="1104900">
                <a:moveTo>
                  <a:pt x="15239" y="1088135"/>
                </a:moveTo>
                <a:lnTo>
                  <a:pt x="15239" y="16763"/>
                </a:lnTo>
                <a:lnTo>
                  <a:pt x="7619" y="16763"/>
                </a:lnTo>
                <a:lnTo>
                  <a:pt x="7619" y="1088135"/>
                </a:lnTo>
                <a:lnTo>
                  <a:pt x="15239" y="1088135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7619" y="1088135"/>
                </a:lnTo>
                <a:lnTo>
                  <a:pt x="15239" y="1097279"/>
                </a:lnTo>
                <a:lnTo>
                  <a:pt x="15239" y="1104899"/>
                </a:lnTo>
                <a:lnTo>
                  <a:pt x="1647443" y="1104899"/>
                </a:lnTo>
                <a:lnTo>
                  <a:pt x="1647443" y="1097279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5239" y="1104899"/>
                </a:moveTo>
                <a:lnTo>
                  <a:pt x="15239" y="1097279"/>
                </a:lnTo>
                <a:lnTo>
                  <a:pt x="7619" y="1088135"/>
                </a:lnTo>
                <a:lnTo>
                  <a:pt x="7619" y="1104899"/>
                </a:lnTo>
                <a:lnTo>
                  <a:pt x="15239" y="1104899"/>
                </a:lnTo>
                <a:close/>
              </a:path>
              <a:path w="1664335" h="1104900">
                <a:moveTo>
                  <a:pt x="1656587" y="16763"/>
                </a:moveTo>
                <a:lnTo>
                  <a:pt x="1647443" y="7619"/>
                </a:lnTo>
                <a:lnTo>
                  <a:pt x="1647443" y="16763"/>
                </a:lnTo>
                <a:lnTo>
                  <a:pt x="1656587" y="16763"/>
                </a:lnTo>
                <a:close/>
              </a:path>
              <a:path w="1664335" h="1104900">
                <a:moveTo>
                  <a:pt x="1656587" y="1088135"/>
                </a:moveTo>
                <a:lnTo>
                  <a:pt x="1656587" y="16763"/>
                </a:lnTo>
                <a:lnTo>
                  <a:pt x="1647443" y="16763"/>
                </a:lnTo>
                <a:lnTo>
                  <a:pt x="1647443" y="1088135"/>
                </a:lnTo>
                <a:lnTo>
                  <a:pt x="1656587" y="1088135"/>
                </a:lnTo>
                <a:close/>
              </a:path>
              <a:path w="1664335" h="1104900">
                <a:moveTo>
                  <a:pt x="1656587" y="1104899"/>
                </a:moveTo>
                <a:lnTo>
                  <a:pt x="1656587" y="1088135"/>
                </a:lnTo>
                <a:lnTo>
                  <a:pt x="1647443" y="1097279"/>
                </a:lnTo>
                <a:lnTo>
                  <a:pt x="1647443" y="1104899"/>
                </a:lnTo>
                <a:lnTo>
                  <a:pt x="1656587" y="11048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33" name="object 33"/>
          <p:cNvSpPr/>
          <p:nvPr/>
        </p:nvSpPr>
        <p:spPr>
          <a:xfrm>
            <a:off x="5385960" y="4349335"/>
            <a:ext cx="1928492" cy="1276503"/>
          </a:xfrm>
          <a:custGeom>
            <a:avLst/>
            <a:gdLst/>
            <a:ahLst/>
            <a:cxnLst/>
            <a:rect l="l" t="t" r="r" b="b"/>
            <a:pathLst>
              <a:path w="1649095" h="1091564">
                <a:moveTo>
                  <a:pt x="0" y="0"/>
                </a:moveTo>
                <a:lnTo>
                  <a:pt x="0" y="1091183"/>
                </a:lnTo>
                <a:lnTo>
                  <a:pt x="1648967" y="1091183"/>
                </a:lnTo>
                <a:lnTo>
                  <a:pt x="1648967" y="0"/>
                </a:lnTo>
                <a:lnTo>
                  <a:pt x="0" y="0"/>
                </a:lnTo>
                <a:close/>
              </a:path>
            </a:pathLst>
          </a:custGeom>
          <a:solidFill>
            <a:srgbClr val="D0EBB2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34" name="object 34"/>
          <p:cNvSpPr/>
          <p:nvPr/>
        </p:nvSpPr>
        <p:spPr>
          <a:xfrm>
            <a:off x="5377051" y="4340423"/>
            <a:ext cx="1946314" cy="1295809"/>
          </a:xfrm>
          <a:custGeom>
            <a:avLst/>
            <a:gdLst/>
            <a:ahLst/>
            <a:cxnLst/>
            <a:rect l="l" t="t" r="r" b="b"/>
            <a:pathLst>
              <a:path w="1664335" h="1108075">
                <a:moveTo>
                  <a:pt x="1664207" y="1107947"/>
                </a:moveTo>
                <a:lnTo>
                  <a:pt x="1664207" y="0"/>
                </a:lnTo>
                <a:lnTo>
                  <a:pt x="0" y="0"/>
                </a:lnTo>
                <a:lnTo>
                  <a:pt x="0" y="1107947"/>
                </a:lnTo>
                <a:lnTo>
                  <a:pt x="7619" y="1107947"/>
                </a:lnTo>
                <a:lnTo>
                  <a:pt x="7619" y="16763"/>
                </a:lnTo>
                <a:lnTo>
                  <a:pt x="15239" y="7619"/>
                </a:lnTo>
                <a:lnTo>
                  <a:pt x="15239" y="16763"/>
                </a:lnTo>
                <a:lnTo>
                  <a:pt x="1647443" y="16763"/>
                </a:lnTo>
                <a:lnTo>
                  <a:pt x="1647443" y="7619"/>
                </a:lnTo>
                <a:lnTo>
                  <a:pt x="1656587" y="16763"/>
                </a:lnTo>
                <a:lnTo>
                  <a:pt x="1656587" y="1107947"/>
                </a:lnTo>
                <a:lnTo>
                  <a:pt x="1664207" y="1107947"/>
                </a:lnTo>
                <a:close/>
              </a:path>
              <a:path w="1664335" h="1108075">
                <a:moveTo>
                  <a:pt x="15239" y="16763"/>
                </a:moveTo>
                <a:lnTo>
                  <a:pt x="15239" y="7619"/>
                </a:lnTo>
                <a:lnTo>
                  <a:pt x="7619" y="16763"/>
                </a:lnTo>
                <a:lnTo>
                  <a:pt x="15239" y="16763"/>
                </a:lnTo>
                <a:close/>
              </a:path>
              <a:path w="1664335" h="1108075">
                <a:moveTo>
                  <a:pt x="15239" y="1091183"/>
                </a:moveTo>
                <a:lnTo>
                  <a:pt x="15239" y="16763"/>
                </a:lnTo>
                <a:lnTo>
                  <a:pt x="7619" y="16763"/>
                </a:lnTo>
                <a:lnTo>
                  <a:pt x="7619" y="1091183"/>
                </a:lnTo>
                <a:lnTo>
                  <a:pt x="15239" y="1091183"/>
                </a:lnTo>
                <a:close/>
              </a:path>
              <a:path w="1664335" h="1108075">
                <a:moveTo>
                  <a:pt x="1656587" y="1091183"/>
                </a:moveTo>
                <a:lnTo>
                  <a:pt x="7619" y="1091183"/>
                </a:lnTo>
                <a:lnTo>
                  <a:pt x="15239" y="1098803"/>
                </a:lnTo>
                <a:lnTo>
                  <a:pt x="15239" y="1107947"/>
                </a:lnTo>
                <a:lnTo>
                  <a:pt x="1647443" y="1107947"/>
                </a:lnTo>
                <a:lnTo>
                  <a:pt x="1647443" y="1098803"/>
                </a:lnTo>
                <a:lnTo>
                  <a:pt x="1656587" y="1091183"/>
                </a:lnTo>
                <a:close/>
              </a:path>
              <a:path w="1664335" h="1108075">
                <a:moveTo>
                  <a:pt x="15239" y="1107947"/>
                </a:moveTo>
                <a:lnTo>
                  <a:pt x="15239" y="1098803"/>
                </a:lnTo>
                <a:lnTo>
                  <a:pt x="7619" y="1091183"/>
                </a:lnTo>
                <a:lnTo>
                  <a:pt x="7619" y="1107947"/>
                </a:lnTo>
                <a:lnTo>
                  <a:pt x="15239" y="1107947"/>
                </a:lnTo>
                <a:close/>
              </a:path>
              <a:path w="1664335" h="1108075">
                <a:moveTo>
                  <a:pt x="1656587" y="16763"/>
                </a:moveTo>
                <a:lnTo>
                  <a:pt x="1647443" y="7619"/>
                </a:lnTo>
                <a:lnTo>
                  <a:pt x="1647443" y="16763"/>
                </a:lnTo>
                <a:lnTo>
                  <a:pt x="1656587" y="16763"/>
                </a:lnTo>
                <a:close/>
              </a:path>
              <a:path w="1664335" h="1108075">
                <a:moveTo>
                  <a:pt x="1656587" y="1091183"/>
                </a:moveTo>
                <a:lnTo>
                  <a:pt x="1656587" y="16763"/>
                </a:lnTo>
                <a:lnTo>
                  <a:pt x="1647443" y="16763"/>
                </a:lnTo>
                <a:lnTo>
                  <a:pt x="1647443" y="1091183"/>
                </a:lnTo>
                <a:lnTo>
                  <a:pt x="1656587" y="1091183"/>
                </a:lnTo>
                <a:close/>
              </a:path>
              <a:path w="1664335" h="1108075">
                <a:moveTo>
                  <a:pt x="1656587" y="1107947"/>
                </a:moveTo>
                <a:lnTo>
                  <a:pt x="1656587" y="1091183"/>
                </a:lnTo>
                <a:lnTo>
                  <a:pt x="1647443" y="1098803"/>
                </a:lnTo>
                <a:lnTo>
                  <a:pt x="1647443" y="1107947"/>
                </a:lnTo>
                <a:lnTo>
                  <a:pt x="1656587" y="110794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35" name="object 35"/>
          <p:cNvSpPr txBox="1"/>
          <p:nvPr/>
        </p:nvSpPr>
        <p:spPr>
          <a:xfrm>
            <a:off x="1247578" y="3310628"/>
            <a:ext cx="141064" cy="932056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0983">
              <a:lnSpc>
                <a:spcPts val="1072"/>
              </a:lnSpc>
            </a:pPr>
            <a:r>
              <a:rPr sz="1500" spc="-9" dirty="0">
                <a:solidFill>
                  <a:srgbClr val="3D3C3F"/>
                </a:solidFill>
                <a:latin typeface="Arial"/>
                <a:cs typeface="Arial"/>
              </a:rPr>
              <a:t>M</a:t>
            </a:r>
            <a:r>
              <a:rPr sz="1500" dirty="0">
                <a:solidFill>
                  <a:srgbClr val="3D3C3F"/>
                </a:solidFill>
                <a:latin typeface="Arial"/>
                <a:cs typeface="Arial"/>
              </a:rPr>
              <a:t>odera</a:t>
            </a:r>
            <a:r>
              <a:rPr sz="1500" spc="-4" dirty="0">
                <a:solidFill>
                  <a:srgbClr val="3D3C3F"/>
                </a:solidFill>
                <a:latin typeface="Arial"/>
                <a:cs typeface="Arial"/>
              </a:rPr>
              <a:t>t</a:t>
            </a:r>
            <a:r>
              <a:rPr sz="1500" dirty="0">
                <a:solidFill>
                  <a:srgbClr val="3D3C3F"/>
                </a:solidFill>
                <a:latin typeface="Arial"/>
                <a:cs typeface="Arial"/>
              </a:rPr>
              <a:t>e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247578" y="4792941"/>
            <a:ext cx="141064" cy="500982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0983">
              <a:lnSpc>
                <a:spcPts val="1072"/>
              </a:lnSpc>
            </a:pPr>
            <a:r>
              <a:rPr sz="1500" dirty="0">
                <a:solidFill>
                  <a:srgbClr val="3D3C3F"/>
                </a:solidFill>
                <a:latin typeface="Arial"/>
                <a:cs typeface="Arial"/>
              </a:rPr>
              <a:t>Low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909099" y="2247420"/>
            <a:ext cx="149593" cy="2561182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0983">
              <a:lnSpc>
                <a:spcPts val="1072"/>
              </a:lnSpc>
            </a:pPr>
            <a:r>
              <a:rPr sz="1500" b="1" spc="-56" dirty="0">
                <a:solidFill>
                  <a:schemeClr val="tx2"/>
                </a:solidFill>
                <a:latin typeface="Arial"/>
                <a:cs typeface="Arial"/>
              </a:rPr>
              <a:t>V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a</a:t>
            </a:r>
            <a:r>
              <a:rPr sz="1500" b="1" spc="-4" dirty="0">
                <a:solidFill>
                  <a:schemeClr val="tx2"/>
                </a:solidFill>
                <a:latin typeface="Arial"/>
                <a:cs typeface="Arial"/>
              </a:rPr>
              <a:t>l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ue</a:t>
            </a:r>
            <a:r>
              <a:rPr sz="1500" b="1" spc="-4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potent</a:t>
            </a:r>
            <a:r>
              <a:rPr sz="1500" b="1" spc="-4" dirty="0">
                <a:solidFill>
                  <a:schemeClr val="tx2"/>
                </a:solidFill>
                <a:latin typeface="Arial"/>
                <a:cs typeface="Arial"/>
              </a:rPr>
              <a:t>i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al</a:t>
            </a:r>
            <a:r>
              <a:rPr sz="1500" b="1" spc="-3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(#</a:t>
            </a:r>
            <a:r>
              <a:rPr sz="1500" b="1" spc="-4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of</a:t>
            </a:r>
            <a:r>
              <a:rPr sz="1500" b="1" spc="-4" dirty="0">
                <a:solidFill>
                  <a:schemeClr val="tx2"/>
                </a:solidFill>
                <a:latin typeface="Arial"/>
                <a:cs typeface="Arial"/>
              </a:rPr>
              <a:t> l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eads)</a:t>
            </a:r>
            <a:endParaRPr sz="15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355620" y="5653310"/>
            <a:ext cx="368627" cy="244695"/>
          </a:xfrm>
          <a:prstGeom prst="rect">
            <a:avLst/>
          </a:prstGeom>
        </p:spPr>
        <p:txBody>
          <a:bodyPr vert="horz" wrap="none" lIns="0" tIns="13729" rIns="0" bIns="0" rtlCol="0">
            <a:spAutoFit/>
          </a:bodyPr>
          <a:lstStyle/>
          <a:p>
            <a:pPr marL="10983">
              <a:spcBef>
                <a:spcPts val="108"/>
              </a:spcBef>
              <a:tabLst>
                <a:tab pos="1429981" algn="l"/>
              </a:tabLst>
            </a:pPr>
            <a:r>
              <a:rPr sz="1500" spc="9" dirty="0" smtClean="0">
                <a:solidFill>
                  <a:srgbClr val="3D3C3F"/>
                </a:solidFill>
                <a:latin typeface="Arial"/>
                <a:cs typeface="Arial"/>
              </a:rPr>
              <a:t>Low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192701" y="5653310"/>
            <a:ext cx="465749" cy="244695"/>
          </a:xfrm>
          <a:prstGeom prst="rect">
            <a:avLst/>
          </a:prstGeom>
        </p:spPr>
        <p:txBody>
          <a:bodyPr vert="horz" wrap="square" lIns="0" tIns="13729" rIns="0" bIns="0" rtlCol="0">
            <a:spAutoFit/>
          </a:bodyPr>
          <a:lstStyle/>
          <a:p>
            <a:pPr marL="10983">
              <a:spcBef>
                <a:spcPts val="108"/>
              </a:spcBef>
            </a:pPr>
            <a:r>
              <a:rPr sz="1500" spc="9" dirty="0">
                <a:solidFill>
                  <a:srgbClr val="3D3C3F"/>
                </a:solidFill>
                <a:latin typeface="Arial"/>
                <a:cs typeface="Arial"/>
              </a:rPr>
              <a:t>H</a:t>
            </a:r>
            <a:r>
              <a:rPr sz="1500" dirty="0">
                <a:solidFill>
                  <a:srgbClr val="3D3C3F"/>
                </a:solidFill>
                <a:latin typeface="Arial"/>
                <a:cs typeface="Arial"/>
              </a:rPr>
              <a:t>i</a:t>
            </a:r>
            <a:r>
              <a:rPr sz="1500" spc="9" dirty="0">
                <a:solidFill>
                  <a:srgbClr val="3D3C3F"/>
                </a:solidFill>
                <a:latin typeface="Arial"/>
                <a:cs typeface="Arial"/>
              </a:rPr>
              <a:t>g</a:t>
            </a:r>
            <a:r>
              <a:rPr sz="1500" spc="4" dirty="0">
                <a:solidFill>
                  <a:srgbClr val="3D3C3F"/>
                </a:solidFill>
                <a:latin typeface="Arial"/>
                <a:cs typeface="Arial"/>
              </a:rPr>
              <a:t>h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608682" y="5939076"/>
            <a:ext cx="3590552" cy="485497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R="4393" indent="9525">
              <a:lnSpc>
                <a:spcPct val="102600"/>
              </a:lnSpc>
              <a:spcBef>
                <a:spcPts val="78"/>
              </a:spcBef>
            </a:pPr>
            <a:r>
              <a:rPr sz="1500" b="1" spc="9" dirty="0">
                <a:solidFill>
                  <a:schemeClr val="tx2"/>
                </a:solidFill>
                <a:latin typeface="Arial"/>
                <a:cs typeface="Arial"/>
              </a:rPr>
              <a:t>Gap between </a:t>
            </a:r>
            <a:r>
              <a:rPr sz="1500" b="1" spc="4" dirty="0">
                <a:solidFill>
                  <a:schemeClr val="tx2"/>
                </a:solidFill>
                <a:latin typeface="Arial"/>
                <a:cs typeface="Arial"/>
              </a:rPr>
              <a:t>current state </a:t>
            </a:r>
            <a:r>
              <a:rPr sz="1500" b="1" spc="9" dirty="0">
                <a:solidFill>
                  <a:schemeClr val="tx2"/>
                </a:solidFill>
                <a:latin typeface="Arial"/>
                <a:cs typeface="Arial"/>
              </a:rPr>
              <a:t>and </a:t>
            </a:r>
            <a:r>
              <a:rPr sz="1500" b="1" spc="4" dirty="0">
                <a:solidFill>
                  <a:schemeClr val="tx2"/>
                </a:solidFill>
                <a:latin typeface="Arial"/>
                <a:cs typeface="Arial"/>
              </a:rPr>
              <a:t>“best </a:t>
            </a:r>
            <a:r>
              <a:rPr sz="1500" b="1" dirty="0">
                <a:solidFill>
                  <a:schemeClr val="tx2"/>
                </a:solidFill>
                <a:latin typeface="Arial"/>
                <a:cs typeface="Arial"/>
              </a:rPr>
              <a:t>in</a:t>
            </a:r>
            <a:r>
              <a:rPr sz="1500" b="1" spc="-134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spc="4" dirty="0">
                <a:solidFill>
                  <a:schemeClr val="tx2"/>
                </a:solidFill>
                <a:latin typeface="Arial"/>
                <a:cs typeface="Arial"/>
              </a:rPr>
              <a:t>class”  </a:t>
            </a:r>
            <a:r>
              <a:rPr sz="1500" b="1" spc="13" dirty="0">
                <a:solidFill>
                  <a:schemeClr val="tx2"/>
                </a:solidFill>
                <a:latin typeface="Arial"/>
                <a:cs typeface="Arial"/>
              </a:rPr>
              <a:t>SMB </a:t>
            </a:r>
            <a:r>
              <a:rPr sz="1500" b="1" spc="4" dirty="0">
                <a:solidFill>
                  <a:schemeClr val="tx2"/>
                </a:solidFill>
                <a:latin typeface="Arial"/>
                <a:cs typeface="Arial"/>
              </a:rPr>
              <a:t>personalized</a:t>
            </a:r>
            <a:r>
              <a:rPr sz="1500" b="1" spc="-52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1500" b="1" spc="4" dirty="0">
                <a:solidFill>
                  <a:schemeClr val="tx2"/>
                </a:solidFill>
                <a:latin typeface="Arial"/>
                <a:cs typeface="Arial"/>
              </a:rPr>
              <a:t>marketing</a:t>
            </a:r>
            <a:endParaRPr sz="15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1154111" y="1848903"/>
            <a:ext cx="0" cy="3776785"/>
          </a:xfrm>
          <a:custGeom>
            <a:avLst/>
            <a:gdLst/>
            <a:ahLst/>
            <a:cxnLst/>
            <a:rect l="l" t="t" r="r" b="b"/>
            <a:pathLst>
              <a:path h="3229610">
                <a:moveTo>
                  <a:pt x="0" y="0"/>
                </a:moveTo>
                <a:lnTo>
                  <a:pt x="0" y="3229355"/>
                </a:lnTo>
              </a:path>
            </a:pathLst>
          </a:custGeom>
          <a:ln w="10667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42" name="object 42"/>
          <p:cNvSpPr/>
          <p:nvPr/>
        </p:nvSpPr>
        <p:spPr>
          <a:xfrm>
            <a:off x="1534611" y="5910265"/>
            <a:ext cx="5738694" cy="0"/>
          </a:xfrm>
          <a:custGeom>
            <a:avLst/>
            <a:gdLst/>
            <a:ahLst/>
            <a:cxnLst/>
            <a:rect l="l" t="t" r="r" b="b"/>
            <a:pathLst>
              <a:path w="4907280">
                <a:moveTo>
                  <a:pt x="0" y="0"/>
                </a:moveTo>
                <a:lnTo>
                  <a:pt x="4907279" y="0"/>
                </a:lnTo>
              </a:path>
            </a:pathLst>
          </a:custGeom>
          <a:ln w="7619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500" dirty="0"/>
          </a:p>
        </p:txBody>
      </p:sp>
      <p:sp>
        <p:nvSpPr>
          <p:cNvPr id="43" name="object 43"/>
          <p:cNvSpPr/>
          <p:nvPr/>
        </p:nvSpPr>
        <p:spPr>
          <a:xfrm>
            <a:off x="5459029" y="4664784"/>
            <a:ext cx="222775" cy="225002"/>
          </a:xfrm>
          <a:custGeom>
            <a:avLst/>
            <a:gdLst/>
            <a:ahLst/>
            <a:cxnLst/>
            <a:rect l="l" t="t" r="r" b="b"/>
            <a:pathLst>
              <a:path w="190500" h="192404">
                <a:moveTo>
                  <a:pt x="190499" y="96011"/>
                </a:moveTo>
                <a:lnTo>
                  <a:pt x="182999" y="58507"/>
                </a:lnTo>
                <a:lnTo>
                  <a:pt x="162496" y="28003"/>
                </a:lnTo>
                <a:lnTo>
                  <a:pt x="131992" y="7500"/>
                </a:lnTo>
                <a:lnTo>
                  <a:pt x="94487" y="0"/>
                </a:lnTo>
                <a:lnTo>
                  <a:pt x="57864" y="7500"/>
                </a:lnTo>
                <a:lnTo>
                  <a:pt x="27812" y="28003"/>
                </a:lnTo>
                <a:lnTo>
                  <a:pt x="7477" y="58507"/>
                </a:lnTo>
                <a:lnTo>
                  <a:pt x="0" y="96011"/>
                </a:lnTo>
                <a:lnTo>
                  <a:pt x="7477" y="133516"/>
                </a:lnTo>
                <a:lnTo>
                  <a:pt x="27812" y="164020"/>
                </a:lnTo>
                <a:lnTo>
                  <a:pt x="57864" y="184523"/>
                </a:lnTo>
                <a:lnTo>
                  <a:pt x="94487" y="192023"/>
                </a:lnTo>
                <a:lnTo>
                  <a:pt x="131992" y="184523"/>
                </a:lnTo>
                <a:lnTo>
                  <a:pt x="162496" y="164020"/>
                </a:lnTo>
                <a:lnTo>
                  <a:pt x="182999" y="133516"/>
                </a:lnTo>
                <a:lnTo>
                  <a:pt x="190499" y="9601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a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593425" y="2225152"/>
            <a:ext cx="225003" cy="225002"/>
          </a:xfrm>
          <a:custGeom>
            <a:avLst/>
            <a:gdLst/>
            <a:ahLst/>
            <a:cxnLst/>
            <a:rect l="l" t="t" r="r" b="b"/>
            <a:pathLst>
              <a:path w="192405" h="192405">
                <a:moveTo>
                  <a:pt x="192023" y="96011"/>
                </a:moveTo>
                <a:lnTo>
                  <a:pt x="184523" y="58507"/>
                </a:lnTo>
                <a:lnTo>
                  <a:pt x="164020" y="28003"/>
                </a:lnTo>
                <a:lnTo>
                  <a:pt x="133516" y="7500"/>
                </a:lnTo>
                <a:lnTo>
                  <a:pt x="96011" y="0"/>
                </a:lnTo>
                <a:lnTo>
                  <a:pt x="58507" y="7500"/>
                </a:lnTo>
                <a:lnTo>
                  <a:pt x="28003" y="28003"/>
                </a:lnTo>
                <a:lnTo>
                  <a:pt x="7500" y="58507"/>
                </a:lnTo>
                <a:lnTo>
                  <a:pt x="0" y="96011"/>
                </a:lnTo>
                <a:lnTo>
                  <a:pt x="7500" y="133516"/>
                </a:lnTo>
                <a:lnTo>
                  <a:pt x="28003" y="164020"/>
                </a:lnTo>
                <a:lnTo>
                  <a:pt x="58507" y="184523"/>
                </a:lnTo>
                <a:lnTo>
                  <a:pt x="96011" y="192023"/>
                </a:lnTo>
                <a:lnTo>
                  <a:pt x="133516" y="184523"/>
                </a:lnTo>
                <a:lnTo>
                  <a:pt x="164020" y="164020"/>
                </a:lnTo>
                <a:lnTo>
                  <a:pt x="184523" y="133516"/>
                </a:lnTo>
                <a:lnTo>
                  <a:pt x="192023" y="9601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b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5459029" y="3395855"/>
            <a:ext cx="222775" cy="222775"/>
          </a:xfrm>
          <a:custGeom>
            <a:avLst/>
            <a:gdLst/>
            <a:ahLst/>
            <a:cxnLst/>
            <a:rect l="l" t="t" r="r" b="b"/>
            <a:pathLst>
              <a:path w="190500" h="190500">
                <a:moveTo>
                  <a:pt x="190499" y="94487"/>
                </a:moveTo>
                <a:lnTo>
                  <a:pt x="182999" y="57864"/>
                </a:lnTo>
                <a:lnTo>
                  <a:pt x="162496" y="27812"/>
                </a:lnTo>
                <a:lnTo>
                  <a:pt x="131992" y="7477"/>
                </a:lnTo>
                <a:lnTo>
                  <a:pt x="94487" y="0"/>
                </a:lnTo>
                <a:lnTo>
                  <a:pt x="57864" y="7477"/>
                </a:lnTo>
                <a:lnTo>
                  <a:pt x="27812" y="27812"/>
                </a:lnTo>
                <a:lnTo>
                  <a:pt x="7477" y="57864"/>
                </a:lnTo>
                <a:lnTo>
                  <a:pt x="0" y="94487"/>
                </a:lnTo>
                <a:lnTo>
                  <a:pt x="7477" y="131992"/>
                </a:lnTo>
                <a:lnTo>
                  <a:pt x="27812" y="162496"/>
                </a:lnTo>
                <a:lnTo>
                  <a:pt x="57864" y="182999"/>
                </a:lnTo>
                <a:lnTo>
                  <a:pt x="94487" y="190499"/>
                </a:lnTo>
                <a:lnTo>
                  <a:pt x="131992" y="182999"/>
                </a:lnTo>
                <a:lnTo>
                  <a:pt x="162496" y="162496"/>
                </a:lnTo>
                <a:lnTo>
                  <a:pt x="182999" y="131992"/>
                </a:lnTo>
                <a:lnTo>
                  <a:pt x="190499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c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5459029" y="1936231"/>
            <a:ext cx="222775" cy="222775"/>
          </a:xfrm>
          <a:custGeom>
            <a:avLst/>
            <a:gdLst/>
            <a:ahLst/>
            <a:cxnLst/>
            <a:rect l="l" t="t" r="r" b="b"/>
            <a:pathLst>
              <a:path w="190500" h="190500">
                <a:moveTo>
                  <a:pt x="190499" y="96011"/>
                </a:moveTo>
                <a:lnTo>
                  <a:pt x="182999" y="58507"/>
                </a:lnTo>
                <a:lnTo>
                  <a:pt x="162496" y="28003"/>
                </a:lnTo>
                <a:lnTo>
                  <a:pt x="131992" y="7500"/>
                </a:lnTo>
                <a:lnTo>
                  <a:pt x="94487" y="0"/>
                </a:lnTo>
                <a:lnTo>
                  <a:pt x="57864" y="7500"/>
                </a:lnTo>
                <a:lnTo>
                  <a:pt x="27812" y="28003"/>
                </a:lnTo>
                <a:lnTo>
                  <a:pt x="7477" y="58507"/>
                </a:lnTo>
                <a:lnTo>
                  <a:pt x="0" y="96011"/>
                </a:lnTo>
                <a:lnTo>
                  <a:pt x="7477" y="132635"/>
                </a:lnTo>
                <a:lnTo>
                  <a:pt x="27812" y="162686"/>
                </a:lnTo>
                <a:lnTo>
                  <a:pt x="57864" y="183022"/>
                </a:lnTo>
                <a:lnTo>
                  <a:pt x="94487" y="190499"/>
                </a:lnTo>
                <a:lnTo>
                  <a:pt x="131992" y="183022"/>
                </a:lnTo>
                <a:lnTo>
                  <a:pt x="162496" y="162686"/>
                </a:lnTo>
                <a:lnTo>
                  <a:pt x="182999" y="132635"/>
                </a:lnTo>
                <a:lnTo>
                  <a:pt x="190499" y="9601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h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593425" y="4851916"/>
            <a:ext cx="225003" cy="222775"/>
          </a:xfrm>
          <a:custGeom>
            <a:avLst/>
            <a:gdLst/>
            <a:ahLst/>
            <a:cxnLst/>
            <a:rect l="l" t="t" r="r" b="b"/>
            <a:pathLst>
              <a:path w="192405" h="190500">
                <a:moveTo>
                  <a:pt x="192023" y="94487"/>
                </a:moveTo>
                <a:lnTo>
                  <a:pt x="184523" y="57864"/>
                </a:lnTo>
                <a:lnTo>
                  <a:pt x="164020" y="27812"/>
                </a:lnTo>
                <a:lnTo>
                  <a:pt x="133516" y="7477"/>
                </a:lnTo>
                <a:lnTo>
                  <a:pt x="96011" y="0"/>
                </a:lnTo>
                <a:lnTo>
                  <a:pt x="58507" y="7477"/>
                </a:lnTo>
                <a:lnTo>
                  <a:pt x="28003" y="27812"/>
                </a:lnTo>
                <a:lnTo>
                  <a:pt x="7500" y="57864"/>
                </a:lnTo>
                <a:lnTo>
                  <a:pt x="0" y="94487"/>
                </a:lnTo>
                <a:lnTo>
                  <a:pt x="7500" y="131992"/>
                </a:lnTo>
                <a:lnTo>
                  <a:pt x="28003" y="162496"/>
                </a:lnTo>
                <a:lnTo>
                  <a:pt x="58507" y="182999"/>
                </a:lnTo>
                <a:lnTo>
                  <a:pt x="96011" y="190499"/>
                </a:lnTo>
                <a:lnTo>
                  <a:pt x="133516" y="182999"/>
                </a:lnTo>
                <a:lnTo>
                  <a:pt x="164020" y="162496"/>
                </a:lnTo>
                <a:lnTo>
                  <a:pt x="184523" y="131992"/>
                </a:lnTo>
                <a:lnTo>
                  <a:pt x="192023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i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593425" y="3809407"/>
            <a:ext cx="225003" cy="222775"/>
          </a:xfrm>
          <a:custGeom>
            <a:avLst/>
            <a:gdLst/>
            <a:ahLst/>
            <a:cxnLst/>
            <a:rect l="l" t="t" r="r" b="b"/>
            <a:pathLst>
              <a:path w="192405" h="190500">
                <a:moveTo>
                  <a:pt x="192023" y="94487"/>
                </a:moveTo>
                <a:lnTo>
                  <a:pt x="184523" y="57864"/>
                </a:lnTo>
                <a:lnTo>
                  <a:pt x="164020" y="27812"/>
                </a:lnTo>
                <a:lnTo>
                  <a:pt x="133516" y="7477"/>
                </a:lnTo>
                <a:lnTo>
                  <a:pt x="96011" y="0"/>
                </a:lnTo>
                <a:lnTo>
                  <a:pt x="58507" y="7477"/>
                </a:lnTo>
                <a:lnTo>
                  <a:pt x="28003" y="27812"/>
                </a:lnTo>
                <a:lnTo>
                  <a:pt x="7500" y="57864"/>
                </a:lnTo>
                <a:lnTo>
                  <a:pt x="0" y="94487"/>
                </a:lnTo>
                <a:lnTo>
                  <a:pt x="7500" y="131992"/>
                </a:lnTo>
                <a:lnTo>
                  <a:pt x="28003" y="162496"/>
                </a:lnTo>
                <a:lnTo>
                  <a:pt x="58507" y="182999"/>
                </a:lnTo>
                <a:lnTo>
                  <a:pt x="96011" y="190499"/>
                </a:lnTo>
                <a:lnTo>
                  <a:pt x="133516" y="182999"/>
                </a:lnTo>
                <a:lnTo>
                  <a:pt x="164020" y="162496"/>
                </a:lnTo>
                <a:lnTo>
                  <a:pt x="184523" y="131992"/>
                </a:lnTo>
                <a:lnTo>
                  <a:pt x="192023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a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5459029" y="2535053"/>
            <a:ext cx="222775" cy="225002"/>
          </a:xfrm>
          <a:custGeom>
            <a:avLst/>
            <a:gdLst/>
            <a:ahLst/>
            <a:cxnLst/>
            <a:rect l="l" t="t" r="r" b="b"/>
            <a:pathLst>
              <a:path w="190500" h="192404">
                <a:moveTo>
                  <a:pt x="190499" y="96011"/>
                </a:moveTo>
                <a:lnTo>
                  <a:pt x="182999" y="59150"/>
                </a:lnTo>
                <a:lnTo>
                  <a:pt x="162496" y="28574"/>
                </a:lnTo>
                <a:lnTo>
                  <a:pt x="131992" y="7715"/>
                </a:lnTo>
                <a:lnTo>
                  <a:pt x="94487" y="0"/>
                </a:lnTo>
                <a:lnTo>
                  <a:pt x="57864" y="7715"/>
                </a:lnTo>
                <a:lnTo>
                  <a:pt x="27812" y="28574"/>
                </a:lnTo>
                <a:lnTo>
                  <a:pt x="7477" y="59150"/>
                </a:lnTo>
                <a:lnTo>
                  <a:pt x="0" y="96011"/>
                </a:lnTo>
                <a:lnTo>
                  <a:pt x="7477" y="133516"/>
                </a:lnTo>
                <a:lnTo>
                  <a:pt x="27812" y="164020"/>
                </a:lnTo>
                <a:lnTo>
                  <a:pt x="57864" y="184523"/>
                </a:lnTo>
                <a:lnTo>
                  <a:pt x="94487" y="192023"/>
                </a:lnTo>
                <a:lnTo>
                  <a:pt x="131992" y="184523"/>
                </a:lnTo>
                <a:lnTo>
                  <a:pt x="162496" y="164020"/>
                </a:lnTo>
                <a:lnTo>
                  <a:pt x="182999" y="133516"/>
                </a:lnTo>
                <a:lnTo>
                  <a:pt x="190499" y="9601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e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593425" y="3208388"/>
            <a:ext cx="225003" cy="222775"/>
          </a:xfrm>
          <a:custGeom>
            <a:avLst/>
            <a:gdLst/>
            <a:ahLst/>
            <a:cxnLst/>
            <a:rect l="l" t="t" r="r" b="b"/>
            <a:pathLst>
              <a:path w="192405" h="190500">
                <a:moveTo>
                  <a:pt x="192023" y="94487"/>
                </a:moveTo>
                <a:lnTo>
                  <a:pt x="184523" y="57864"/>
                </a:lnTo>
                <a:lnTo>
                  <a:pt x="164020" y="27812"/>
                </a:lnTo>
                <a:lnTo>
                  <a:pt x="133516" y="7477"/>
                </a:lnTo>
                <a:lnTo>
                  <a:pt x="96011" y="0"/>
                </a:lnTo>
                <a:lnTo>
                  <a:pt x="58507" y="7477"/>
                </a:lnTo>
                <a:lnTo>
                  <a:pt x="28003" y="27812"/>
                </a:lnTo>
                <a:lnTo>
                  <a:pt x="7500" y="57864"/>
                </a:lnTo>
                <a:lnTo>
                  <a:pt x="0" y="94487"/>
                </a:lnTo>
                <a:lnTo>
                  <a:pt x="7500" y="131992"/>
                </a:lnTo>
                <a:lnTo>
                  <a:pt x="28003" y="162496"/>
                </a:lnTo>
                <a:lnTo>
                  <a:pt x="58507" y="182999"/>
                </a:lnTo>
                <a:lnTo>
                  <a:pt x="96011" y="190499"/>
                </a:lnTo>
                <a:lnTo>
                  <a:pt x="133516" y="182999"/>
                </a:lnTo>
                <a:lnTo>
                  <a:pt x="164020" y="162496"/>
                </a:lnTo>
                <a:lnTo>
                  <a:pt x="184523" y="131992"/>
                </a:lnTo>
                <a:lnTo>
                  <a:pt x="192023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f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3530686" y="2233861"/>
            <a:ext cx="222775" cy="225002"/>
          </a:xfrm>
          <a:custGeom>
            <a:avLst/>
            <a:gdLst/>
            <a:ahLst/>
            <a:cxnLst/>
            <a:rect l="l" t="t" r="r" b="b"/>
            <a:pathLst>
              <a:path w="190500" h="192405">
                <a:moveTo>
                  <a:pt x="190499" y="96011"/>
                </a:moveTo>
                <a:lnTo>
                  <a:pt x="182999" y="58507"/>
                </a:lnTo>
                <a:lnTo>
                  <a:pt x="162496" y="28003"/>
                </a:lnTo>
                <a:lnTo>
                  <a:pt x="131992" y="7500"/>
                </a:lnTo>
                <a:lnTo>
                  <a:pt x="94487" y="0"/>
                </a:lnTo>
                <a:lnTo>
                  <a:pt x="57864" y="7500"/>
                </a:lnTo>
                <a:lnTo>
                  <a:pt x="27812" y="28003"/>
                </a:lnTo>
                <a:lnTo>
                  <a:pt x="7477" y="58507"/>
                </a:lnTo>
                <a:lnTo>
                  <a:pt x="0" y="96011"/>
                </a:lnTo>
                <a:lnTo>
                  <a:pt x="7477" y="133516"/>
                </a:lnTo>
                <a:lnTo>
                  <a:pt x="27812" y="164020"/>
                </a:lnTo>
                <a:lnTo>
                  <a:pt x="57864" y="184523"/>
                </a:lnTo>
                <a:lnTo>
                  <a:pt x="94487" y="192023"/>
                </a:lnTo>
                <a:lnTo>
                  <a:pt x="131992" y="184523"/>
                </a:lnTo>
                <a:lnTo>
                  <a:pt x="162496" y="164020"/>
                </a:lnTo>
                <a:lnTo>
                  <a:pt x="182999" y="133516"/>
                </a:lnTo>
                <a:lnTo>
                  <a:pt x="190499" y="9601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e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3530686" y="3707741"/>
            <a:ext cx="222775" cy="222775"/>
          </a:xfrm>
          <a:custGeom>
            <a:avLst/>
            <a:gdLst/>
            <a:ahLst/>
            <a:cxnLst/>
            <a:rect l="l" t="t" r="r" b="b"/>
            <a:pathLst>
              <a:path w="190500" h="190500">
                <a:moveTo>
                  <a:pt x="190499" y="94487"/>
                </a:moveTo>
                <a:lnTo>
                  <a:pt x="182999" y="57864"/>
                </a:lnTo>
                <a:lnTo>
                  <a:pt x="162496" y="27812"/>
                </a:lnTo>
                <a:lnTo>
                  <a:pt x="131992" y="7477"/>
                </a:lnTo>
                <a:lnTo>
                  <a:pt x="94487" y="0"/>
                </a:lnTo>
                <a:lnTo>
                  <a:pt x="57864" y="7477"/>
                </a:lnTo>
                <a:lnTo>
                  <a:pt x="27812" y="27812"/>
                </a:lnTo>
                <a:lnTo>
                  <a:pt x="7477" y="57864"/>
                </a:lnTo>
                <a:lnTo>
                  <a:pt x="0" y="94487"/>
                </a:lnTo>
                <a:lnTo>
                  <a:pt x="7477" y="131992"/>
                </a:lnTo>
                <a:lnTo>
                  <a:pt x="27812" y="162496"/>
                </a:lnTo>
                <a:lnTo>
                  <a:pt x="57864" y="182999"/>
                </a:lnTo>
                <a:lnTo>
                  <a:pt x="94487" y="190499"/>
                </a:lnTo>
                <a:lnTo>
                  <a:pt x="131992" y="182999"/>
                </a:lnTo>
                <a:lnTo>
                  <a:pt x="162496" y="162496"/>
                </a:lnTo>
                <a:lnTo>
                  <a:pt x="182999" y="131992"/>
                </a:lnTo>
                <a:lnTo>
                  <a:pt x="190499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a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3530686" y="3107138"/>
            <a:ext cx="222775" cy="222775"/>
          </a:xfrm>
          <a:custGeom>
            <a:avLst/>
            <a:gdLst/>
            <a:ahLst/>
            <a:cxnLst/>
            <a:rect l="l" t="t" r="r" b="b"/>
            <a:pathLst>
              <a:path w="190500" h="190500">
                <a:moveTo>
                  <a:pt x="190499" y="94487"/>
                </a:moveTo>
                <a:lnTo>
                  <a:pt x="182999" y="57864"/>
                </a:lnTo>
                <a:lnTo>
                  <a:pt x="162496" y="27812"/>
                </a:lnTo>
                <a:lnTo>
                  <a:pt x="131992" y="7477"/>
                </a:lnTo>
                <a:lnTo>
                  <a:pt x="94487" y="0"/>
                </a:lnTo>
                <a:lnTo>
                  <a:pt x="57864" y="7477"/>
                </a:lnTo>
                <a:lnTo>
                  <a:pt x="27812" y="27812"/>
                </a:lnTo>
                <a:lnTo>
                  <a:pt x="7477" y="57864"/>
                </a:lnTo>
                <a:lnTo>
                  <a:pt x="0" y="94487"/>
                </a:lnTo>
                <a:lnTo>
                  <a:pt x="7477" y="131992"/>
                </a:lnTo>
                <a:lnTo>
                  <a:pt x="27812" y="162496"/>
                </a:lnTo>
                <a:lnTo>
                  <a:pt x="57864" y="182999"/>
                </a:lnTo>
                <a:lnTo>
                  <a:pt x="94487" y="190499"/>
                </a:lnTo>
                <a:lnTo>
                  <a:pt x="131992" y="182999"/>
                </a:lnTo>
                <a:lnTo>
                  <a:pt x="162496" y="162496"/>
                </a:lnTo>
                <a:lnTo>
                  <a:pt x="182999" y="131992"/>
                </a:lnTo>
                <a:lnTo>
                  <a:pt x="190499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f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3530686" y="4808799"/>
            <a:ext cx="222775" cy="222775"/>
          </a:xfrm>
          <a:custGeom>
            <a:avLst/>
            <a:gdLst/>
            <a:ahLst/>
            <a:cxnLst/>
            <a:rect l="l" t="t" r="r" b="b"/>
            <a:pathLst>
              <a:path w="190500" h="190500">
                <a:moveTo>
                  <a:pt x="190499" y="94487"/>
                </a:moveTo>
                <a:lnTo>
                  <a:pt x="182999" y="57864"/>
                </a:lnTo>
                <a:lnTo>
                  <a:pt x="162496" y="27812"/>
                </a:lnTo>
                <a:lnTo>
                  <a:pt x="131992" y="7477"/>
                </a:lnTo>
                <a:lnTo>
                  <a:pt x="94487" y="0"/>
                </a:lnTo>
                <a:lnTo>
                  <a:pt x="57864" y="7477"/>
                </a:lnTo>
                <a:lnTo>
                  <a:pt x="27812" y="27812"/>
                </a:lnTo>
                <a:lnTo>
                  <a:pt x="7477" y="57864"/>
                </a:lnTo>
                <a:lnTo>
                  <a:pt x="0" y="94487"/>
                </a:lnTo>
                <a:lnTo>
                  <a:pt x="7477" y="131992"/>
                </a:lnTo>
                <a:lnTo>
                  <a:pt x="27812" y="162496"/>
                </a:lnTo>
                <a:lnTo>
                  <a:pt x="57864" y="182999"/>
                </a:lnTo>
                <a:lnTo>
                  <a:pt x="94487" y="190499"/>
                </a:lnTo>
                <a:lnTo>
                  <a:pt x="131992" y="182999"/>
                </a:lnTo>
                <a:lnTo>
                  <a:pt x="162496" y="162496"/>
                </a:lnTo>
                <a:lnTo>
                  <a:pt x="182999" y="131992"/>
                </a:lnTo>
                <a:lnTo>
                  <a:pt x="190499" y="94487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g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5459029" y="3783475"/>
            <a:ext cx="222775" cy="225002"/>
          </a:xfrm>
          <a:custGeom>
            <a:avLst/>
            <a:gdLst/>
            <a:ahLst/>
            <a:cxnLst/>
            <a:rect l="l" t="t" r="r" b="b"/>
            <a:pathLst>
              <a:path w="190500" h="192404">
                <a:moveTo>
                  <a:pt x="190499" y="96011"/>
                </a:moveTo>
                <a:lnTo>
                  <a:pt x="182999" y="59150"/>
                </a:lnTo>
                <a:lnTo>
                  <a:pt x="162496" y="28574"/>
                </a:lnTo>
                <a:lnTo>
                  <a:pt x="131992" y="7715"/>
                </a:lnTo>
                <a:lnTo>
                  <a:pt x="94487" y="0"/>
                </a:lnTo>
                <a:lnTo>
                  <a:pt x="57864" y="7715"/>
                </a:lnTo>
                <a:lnTo>
                  <a:pt x="27812" y="28574"/>
                </a:lnTo>
                <a:lnTo>
                  <a:pt x="7477" y="59150"/>
                </a:lnTo>
                <a:lnTo>
                  <a:pt x="0" y="96011"/>
                </a:lnTo>
                <a:lnTo>
                  <a:pt x="7477" y="133516"/>
                </a:lnTo>
                <a:lnTo>
                  <a:pt x="27812" y="164020"/>
                </a:lnTo>
                <a:lnTo>
                  <a:pt x="57864" y="184523"/>
                </a:lnTo>
                <a:lnTo>
                  <a:pt x="94487" y="192023"/>
                </a:lnTo>
                <a:lnTo>
                  <a:pt x="131992" y="184523"/>
                </a:lnTo>
                <a:lnTo>
                  <a:pt x="162496" y="164020"/>
                </a:lnTo>
                <a:lnTo>
                  <a:pt x="182999" y="133516"/>
                </a:lnTo>
                <a:lnTo>
                  <a:pt x="190499" y="96011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algn="ctr"/>
            <a:r>
              <a:rPr lang="en-US" sz="1500" dirty="0" smtClean="0">
                <a:solidFill>
                  <a:schemeClr val="bg2"/>
                </a:solidFill>
              </a:rPr>
              <a:t>d</a:t>
            </a:r>
            <a:endParaRPr sz="1500" dirty="0">
              <a:solidFill>
                <a:schemeClr val="bg2"/>
              </a:solidFill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446874" y="1124735"/>
            <a:ext cx="7277901" cy="240814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10983">
              <a:spcBef>
                <a:spcPts val="78"/>
              </a:spcBef>
              <a:tabLst>
                <a:tab pos="6033489" algn="l"/>
              </a:tabLst>
            </a:pPr>
            <a:r>
              <a:rPr sz="1500" b="1" spc="-13" dirty="0">
                <a:latin typeface="Arial"/>
                <a:cs typeface="Arial"/>
              </a:rPr>
              <a:t>Value-opportunity </a:t>
            </a:r>
            <a:r>
              <a:rPr sz="1500" b="1" spc="-9" dirty="0">
                <a:latin typeface="Arial"/>
                <a:cs typeface="Arial"/>
              </a:rPr>
              <a:t>comparison to prioritize </a:t>
            </a:r>
            <a:r>
              <a:rPr sz="1500" b="1" dirty="0">
                <a:latin typeface="Arial"/>
                <a:cs typeface="Arial"/>
              </a:rPr>
              <a:t>SMB </a:t>
            </a:r>
            <a:r>
              <a:rPr sz="1500" b="1" spc="-9" dirty="0">
                <a:latin typeface="Arial"/>
                <a:cs typeface="Arial"/>
              </a:rPr>
              <a:t>marketing channels</a:t>
            </a:r>
            <a:r>
              <a:rPr sz="1500" b="1" spc="303" dirty="0">
                <a:latin typeface="Arial"/>
                <a:cs typeface="Arial"/>
              </a:rPr>
              <a:t> </a:t>
            </a:r>
            <a:r>
              <a:rPr sz="1500" b="1" spc="-9" dirty="0">
                <a:latin typeface="Arial"/>
                <a:cs typeface="Arial"/>
              </a:rPr>
              <a:t>for</a:t>
            </a:r>
            <a:r>
              <a:rPr sz="1500" b="1" spc="22" dirty="0">
                <a:latin typeface="Arial"/>
                <a:cs typeface="Arial"/>
              </a:rPr>
              <a:t> </a:t>
            </a:r>
            <a:r>
              <a:rPr lang="en-US" sz="1500" b="1" spc="-9" dirty="0" smtClean="0">
                <a:latin typeface="Arial"/>
                <a:cs typeface="Arial"/>
              </a:rPr>
              <a:t>Client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69" name="Marvintitletrackercircle"/>
          <p:cNvSpPr/>
          <p:nvPr>
            <p:custDataLst>
              <p:tags r:id="rId3"/>
            </p:custDataLst>
          </p:nvPr>
        </p:nvSpPr>
        <p:spPr>
          <a:xfrm>
            <a:off x="146059" y="217489"/>
            <a:ext cx="398463" cy="398463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2"/>
                </a:solidFill>
                <a:latin typeface="+mj-lt"/>
              </a:rPr>
              <a:t>2</a:t>
            </a:r>
          </a:p>
        </p:txBody>
      </p:sp>
      <p:sp>
        <p:nvSpPr>
          <p:cNvPr id="71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 Team analysis,  Client marketing lead  progression data FY2016,  Digital Opportunity Scan 2017,  Client Market Insights Survey April-May 2017 (McKinsey deployed)</a:t>
            </a:r>
          </a:p>
        </p:txBody>
      </p:sp>
      <p:sp>
        <p:nvSpPr>
          <p:cNvPr id="74" name="object 67"/>
          <p:cNvSpPr txBox="1">
            <a:spLocks/>
          </p:cNvSpPr>
          <p:nvPr/>
        </p:nvSpPr>
        <p:spPr>
          <a:xfrm>
            <a:off x="8589763" y="1124735"/>
            <a:ext cx="2933663" cy="240814"/>
          </a:xfrm>
          <a:prstGeom prst="rect">
            <a:avLst/>
          </a:prstGeom>
        </p:spPr>
        <p:txBody>
          <a:bodyPr vert="horz" wrap="square" lIns="0" tIns="9885" rIns="0" bIns="0" rtlCol="0">
            <a:noAutofit/>
          </a:bodyPr>
          <a:lstStyle/>
          <a:p>
            <a:pPr marL="10983">
              <a:spcBef>
                <a:spcPts val="78"/>
              </a:spcBef>
              <a:tabLst>
                <a:tab pos="6033489" algn="l"/>
              </a:tabLst>
            </a:pPr>
            <a:r>
              <a:rPr lang="en-US" sz="1500" b="1" spc="-13" dirty="0" smtClean="0">
                <a:latin typeface="Arial"/>
                <a:cs typeface="Arial"/>
              </a:rPr>
              <a:t>Recommendations</a:t>
            </a:r>
            <a:endParaRPr lang="en-US" sz="1500" b="1" spc="-13" dirty="0">
              <a:latin typeface="Arial"/>
              <a:cs typeface="Arial"/>
            </a:endParaRPr>
          </a:p>
        </p:txBody>
      </p:sp>
      <p:sp>
        <p:nvSpPr>
          <p:cNvPr id="75" name="TextBox 74"/>
          <p:cNvSpPr txBox="1">
            <a:spLocks/>
          </p:cNvSpPr>
          <p:nvPr/>
        </p:nvSpPr>
        <p:spPr>
          <a:xfrm>
            <a:off x="8589763" y="1503457"/>
            <a:ext cx="2933663" cy="1625808"/>
          </a:xfrm>
          <a:prstGeom prst="rect">
            <a:avLst/>
          </a:prstGeom>
        </p:spPr>
        <p:txBody>
          <a:bodyPr vert="horz" wrap="square" lIns="0" tIns="9885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5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Increase investment for  high-value digital</a:t>
            </a:r>
            <a:r>
              <a:rPr lang="en-US" sz="1500" b="1" dirty="0" smtClean="0">
                <a:solidFill>
                  <a:schemeClr val="accent4"/>
                </a:solidFill>
              </a:rPr>
              <a:t> </a:t>
            </a:r>
            <a:r>
              <a:rPr lang="en-US" sz="15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channels</a:t>
            </a:r>
            <a:endParaRPr lang="en-US" sz="15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2"/>
            <a:r>
              <a:rPr lang="en-US" sz="1500" dirty="0" smtClean="0">
                <a:cs typeface="Arial" panose="020B0604020202020204" pitchFamily="34" charset="0"/>
              </a:rPr>
              <a:t>Adjust tactics </a:t>
            </a:r>
            <a:r>
              <a:rPr lang="en-US" sz="1500" dirty="0" smtClean="0"/>
              <a:t>by channel </a:t>
            </a:r>
            <a:r>
              <a:rPr lang="en-US" sz="1500" dirty="0" smtClean="0">
                <a:cs typeface="Arial" panose="020B0604020202020204" pitchFamily="34" charset="0"/>
              </a:rPr>
              <a:t>to  differentiate between  enterprise and SMB  preferences using digital as  much as possible</a:t>
            </a:r>
            <a:endParaRPr lang="en-US" sz="1500" dirty="0"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8589763" y="3423832"/>
            <a:ext cx="2933663" cy="933311"/>
          </a:xfrm>
          <a:prstGeom prst="rect">
            <a:avLst/>
          </a:prstGeom>
        </p:spPr>
        <p:txBody>
          <a:bodyPr vert="horz" wrap="square" lIns="0" tIns="9885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5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Deploy predictive </a:t>
            </a:r>
            <a:r>
              <a:rPr lang="en-US" sz="1500" b="1" dirty="0" smtClean="0">
                <a:solidFill>
                  <a:schemeClr val="accent4"/>
                </a:solidFill>
              </a:rPr>
              <a:t>lead  scoring </a:t>
            </a:r>
            <a:r>
              <a:rPr lang="en-US" sz="1500" dirty="0" smtClean="0">
                <a:cs typeface="Arial" panose="020B0604020202020204" pitchFamily="34" charset="0"/>
              </a:rPr>
              <a:t>to target “ideal”  customers and enable  inbound LDRs to drive scale</a:t>
            </a:r>
            <a:endParaRPr lang="en-US" sz="1500" dirty="0"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8589763" y="4651711"/>
            <a:ext cx="2933663" cy="702479"/>
          </a:xfrm>
          <a:prstGeom prst="rect">
            <a:avLst/>
          </a:prstGeom>
        </p:spPr>
        <p:txBody>
          <a:bodyPr vert="horz" wrap="square" lIns="0" tIns="9885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5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Redesign lead flow </a:t>
            </a:r>
            <a:r>
              <a:rPr lang="en-US" sz="1500" dirty="0" smtClean="0"/>
              <a:t>and  adjust lead capture  processes for</a:t>
            </a:r>
            <a:r>
              <a:rPr lang="en-US" sz="1500" dirty="0" smtClean="0">
                <a:cs typeface="Arial" panose="020B0604020202020204" pitchFamily="34" charset="0"/>
              </a:rPr>
              <a:t> scale</a:t>
            </a:r>
            <a:endParaRPr lang="en-US" sz="1500" dirty="0">
              <a:cs typeface="Arial" panose="020B0604020202020204" pitchFamily="34" charset="0"/>
            </a:endParaRPr>
          </a:p>
        </p:txBody>
      </p:sp>
      <p:sp>
        <p:nvSpPr>
          <p:cNvPr id="81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8067952" y="1159092"/>
            <a:ext cx="178634" cy="274165"/>
          </a:xfrm>
          <a:prstGeom prst="chevron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8128694" y="1423336"/>
            <a:ext cx="0" cy="4307069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38"/>
          <p:cNvSpPr txBox="1"/>
          <p:nvPr/>
        </p:nvSpPr>
        <p:spPr>
          <a:xfrm>
            <a:off x="4269285" y="5653310"/>
            <a:ext cx="388183" cy="244695"/>
          </a:xfrm>
          <a:prstGeom prst="rect">
            <a:avLst/>
          </a:prstGeom>
        </p:spPr>
        <p:txBody>
          <a:bodyPr vert="horz" wrap="none" lIns="0" tIns="13729" rIns="0" bIns="0" rtlCol="0">
            <a:spAutoFit/>
          </a:bodyPr>
          <a:lstStyle/>
          <a:p>
            <a:pPr marL="10983">
              <a:spcBef>
                <a:spcPts val="108"/>
              </a:spcBef>
              <a:tabLst>
                <a:tab pos="1429981" algn="l"/>
              </a:tabLst>
            </a:pPr>
            <a:r>
              <a:rPr lang="en-US" sz="1500" spc="4" dirty="0">
                <a:solidFill>
                  <a:srgbClr val="3D3C3F"/>
                </a:solidFill>
                <a:latin typeface="Arial"/>
                <a:cs typeface="Arial"/>
              </a:rPr>
              <a:t>M</a:t>
            </a:r>
            <a:r>
              <a:rPr lang="en-US" sz="1500" spc="9" dirty="0">
                <a:solidFill>
                  <a:srgbClr val="3D3C3F"/>
                </a:solidFill>
                <a:latin typeface="Arial"/>
                <a:cs typeface="Arial"/>
              </a:rPr>
              <a:t>e</a:t>
            </a:r>
            <a:r>
              <a:rPr lang="en-US" sz="1500" spc="4" dirty="0">
                <a:solidFill>
                  <a:srgbClr val="3D3C3F"/>
                </a:solidFill>
                <a:latin typeface="Arial"/>
                <a:cs typeface="Arial"/>
              </a:rPr>
              <a:t>d</a:t>
            </a:r>
            <a:endParaRPr lang="en-US" sz="1500" dirty="0">
              <a:latin typeface="Arial"/>
              <a:cs typeface="Arial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883892" y="1543750"/>
            <a:ext cx="8239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000" dirty="0"/>
              <a:t>Lowest priority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167080" y="1543750"/>
            <a:ext cx="9040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000" dirty="0"/>
              <a:t>Low-mid priority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5427314" y="1543750"/>
            <a:ext cx="91050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000" dirty="0"/>
              <a:t>Mid-high priority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6714583" y="1543750"/>
            <a:ext cx="8527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000" dirty="0"/>
              <a:t>Highest priority</a:t>
            </a:r>
          </a:p>
        </p:txBody>
      </p:sp>
      <p:sp>
        <p:nvSpPr>
          <p:cNvPr id="88" name="TextBox 87"/>
          <p:cNvSpPr txBox="1">
            <a:spLocks/>
          </p:cNvSpPr>
          <p:nvPr/>
        </p:nvSpPr>
        <p:spPr>
          <a:xfrm>
            <a:off x="1854666" y="2225152"/>
            <a:ext cx="1561325" cy="4308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Direct mail &amp;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email  </a:t>
            </a:r>
            <a:r>
              <a:rPr lang="en-US" sz="1400" dirty="0"/>
              <a:t>marketing</a:t>
            </a: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1854666" y="3208388"/>
            <a:ext cx="1502014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Search marketing: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SEO</a:t>
            </a:r>
            <a:endParaRPr lang="en-US" sz="1400" dirty="0"/>
          </a:p>
        </p:txBody>
      </p:sp>
      <p:sp>
        <p:nvSpPr>
          <p:cNvPr id="90" name="TextBox 89"/>
          <p:cNvSpPr txBox="1">
            <a:spLocks/>
          </p:cNvSpPr>
          <p:nvPr/>
        </p:nvSpPr>
        <p:spPr>
          <a:xfrm>
            <a:off x="1854666" y="3809407"/>
            <a:ext cx="1561325" cy="4308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 smtClean="0"/>
              <a:t>Content marketing</a:t>
            </a:r>
            <a:r>
              <a:rPr lang="en-US" sz="1400" dirty="0"/>
              <a:t>: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social  </a:t>
            </a:r>
            <a:r>
              <a:rPr lang="en-US" sz="1400" dirty="0"/>
              <a:t>media</a:t>
            </a:r>
          </a:p>
        </p:txBody>
      </p:sp>
      <p:sp>
        <p:nvSpPr>
          <p:cNvPr id="91" name="TextBox 90"/>
          <p:cNvSpPr txBox="1">
            <a:spLocks/>
          </p:cNvSpPr>
          <p:nvPr/>
        </p:nvSpPr>
        <p:spPr>
          <a:xfrm>
            <a:off x="3788377" y="2225152"/>
            <a:ext cx="1561325" cy="4308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Referrals (3rd 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party</a:t>
            </a:r>
            <a:r>
              <a:rPr lang="en-US" sz="1400" dirty="0"/>
              <a:t>): review sites</a:t>
            </a:r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3788377" y="3187743"/>
            <a:ext cx="1561325" cy="4308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Search marketing: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SEM</a:t>
            </a:r>
            <a:endParaRPr lang="en-US" sz="1400" dirty="0"/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3788377" y="3749788"/>
            <a:ext cx="1561325" cy="4308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 smtClean="0"/>
              <a:t>Content marketing:</a:t>
            </a:r>
            <a:br>
              <a:rPr lang="en-US" sz="1400" dirty="0" smtClean="0"/>
            </a:br>
            <a:r>
              <a:rPr lang="en-US" sz="1400" dirty="0" smtClean="0"/>
              <a:t> </a:t>
            </a:r>
            <a:r>
              <a:rPr lang="en-US" sz="1400" dirty="0"/>
              <a:t>whitepapers etc.</a:t>
            </a:r>
          </a:p>
        </p:txBody>
      </p:sp>
      <p:sp>
        <p:nvSpPr>
          <p:cNvPr id="94" name="TextBox 93"/>
          <p:cNvSpPr txBox="1">
            <a:spLocks/>
          </p:cNvSpPr>
          <p:nvPr/>
        </p:nvSpPr>
        <p:spPr>
          <a:xfrm>
            <a:off x="3788377" y="4812464"/>
            <a:ext cx="1085233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Sponsorships</a:t>
            </a:r>
          </a:p>
        </p:txBody>
      </p:sp>
      <p:sp>
        <p:nvSpPr>
          <p:cNvPr id="95" name="TextBox 94"/>
          <p:cNvSpPr txBox="1">
            <a:spLocks/>
          </p:cNvSpPr>
          <p:nvPr/>
        </p:nvSpPr>
        <p:spPr>
          <a:xfrm>
            <a:off x="5748714" y="1899506"/>
            <a:ext cx="1231043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bg2"/>
                </a:solidFill>
              </a:rPr>
              <a:t>Website </a:t>
            </a:r>
            <a:r>
              <a:rPr lang="en-US" sz="1400" dirty="0">
                <a:solidFill>
                  <a:schemeClr val="bg2"/>
                </a:solidFill>
              </a:rPr>
              <a:t>(web,  </a:t>
            </a:r>
            <a:r>
              <a:rPr lang="en-US" sz="1400" dirty="0" smtClean="0">
                <a:solidFill>
                  <a:schemeClr val="bg2"/>
                </a:solidFill>
              </a:rPr>
              <a:t/>
            </a:r>
            <a:br>
              <a:rPr lang="en-US" sz="1400" dirty="0" smtClean="0">
                <a:solidFill>
                  <a:schemeClr val="bg2"/>
                </a:solidFill>
              </a:rPr>
            </a:br>
            <a:r>
              <a:rPr lang="en-US" sz="1400" dirty="0" smtClean="0">
                <a:solidFill>
                  <a:schemeClr val="bg2"/>
                </a:solidFill>
              </a:rPr>
              <a:t>mobile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96" name="TextBox 95"/>
          <p:cNvSpPr txBox="1">
            <a:spLocks/>
          </p:cNvSpPr>
          <p:nvPr/>
        </p:nvSpPr>
        <p:spPr>
          <a:xfrm>
            <a:off x="5748714" y="2538587"/>
            <a:ext cx="1372171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Referrals (3rd  </a:t>
            </a:r>
            <a:r>
              <a:rPr lang="en-US" sz="1400" dirty="0" smtClean="0">
                <a:solidFill>
                  <a:schemeClr val="bg2"/>
                </a:solidFill>
              </a:rPr>
              <a:t/>
            </a:r>
            <a:br>
              <a:rPr lang="en-US" sz="1400" dirty="0" smtClean="0">
                <a:solidFill>
                  <a:schemeClr val="bg2"/>
                </a:solidFill>
              </a:rPr>
            </a:br>
            <a:r>
              <a:rPr lang="en-US" sz="1400" dirty="0" smtClean="0">
                <a:solidFill>
                  <a:schemeClr val="bg2"/>
                </a:solidFill>
              </a:rPr>
              <a:t>party</a:t>
            </a:r>
            <a:r>
              <a:rPr lang="en-US" sz="1400" dirty="0">
                <a:solidFill>
                  <a:schemeClr val="bg2"/>
                </a:solidFill>
              </a:rPr>
              <a:t>): online ads</a:t>
            </a:r>
          </a:p>
        </p:txBody>
      </p:sp>
      <p:sp>
        <p:nvSpPr>
          <p:cNvPr id="97" name="TextBox 96"/>
          <p:cNvSpPr txBox="1">
            <a:spLocks/>
          </p:cNvSpPr>
          <p:nvPr/>
        </p:nvSpPr>
        <p:spPr>
          <a:xfrm>
            <a:off x="5748714" y="3399520"/>
            <a:ext cx="1005083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Local events</a:t>
            </a:r>
          </a:p>
        </p:txBody>
      </p:sp>
      <p:sp>
        <p:nvSpPr>
          <p:cNvPr id="98" name="TextBox 97"/>
          <p:cNvSpPr txBox="1">
            <a:spLocks/>
          </p:cNvSpPr>
          <p:nvPr/>
        </p:nvSpPr>
        <p:spPr>
          <a:xfrm>
            <a:off x="5748714" y="3788254"/>
            <a:ext cx="1024319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Lead scoring</a:t>
            </a:r>
          </a:p>
        </p:txBody>
      </p:sp>
      <p:sp>
        <p:nvSpPr>
          <p:cNvPr id="99" name="TextBox 98"/>
          <p:cNvSpPr txBox="1">
            <a:spLocks/>
          </p:cNvSpPr>
          <p:nvPr/>
        </p:nvSpPr>
        <p:spPr>
          <a:xfrm>
            <a:off x="5748714" y="4664784"/>
            <a:ext cx="1511632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 smtClean="0"/>
              <a:t>Content marketing:</a:t>
            </a:r>
            <a:br>
              <a:rPr lang="en-US" sz="1400" dirty="0" smtClean="0"/>
            </a:br>
            <a:r>
              <a:rPr lang="en-US" sz="1400" dirty="0" smtClean="0"/>
              <a:t>radio  </a:t>
            </a:r>
            <a:r>
              <a:rPr lang="en-US" sz="1400" dirty="0"/>
              <a:t>ads</a:t>
            </a:r>
          </a:p>
        </p:txBody>
      </p:sp>
    </p:spTree>
    <p:extLst>
      <p:ext uri="{BB962C8B-B14F-4D97-AF65-F5344CB8AC3E}">
        <p14:creationId xmlns:p14="http://schemas.microsoft.com/office/powerpoint/2010/main" val="242577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778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9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8759" y="230189"/>
            <a:ext cx="10687041" cy="756638"/>
          </a:xfrm>
          <a:prstGeom prst="rect">
            <a:avLst/>
          </a:prstGeom>
        </p:spPr>
        <p:txBody>
          <a:bodyPr vert="horz" wrap="square" lIns="0" tIns="10434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marR="4393">
              <a:lnSpc>
                <a:spcPct val="101400"/>
              </a:lnSpc>
              <a:spcBef>
                <a:spcPts val="82"/>
              </a:spcBef>
            </a:pPr>
            <a:r>
              <a:rPr spc="9" dirty="0" smtClean="0"/>
              <a:t>Demand </a:t>
            </a:r>
            <a:r>
              <a:rPr spc="9" dirty="0"/>
              <a:t>Gen </a:t>
            </a:r>
            <a:r>
              <a:rPr spc="13" dirty="0"/>
              <a:t>&amp; </a:t>
            </a:r>
            <a:r>
              <a:rPr spc="9" dirty="0"/>
              <a:t>Lead Management –Customized web journeys and product  </a:t>
            </a:r>
            <a:r>
              <a:rPr spc="4" dirty="0"/>
              <a:t>packaging for</a:t>
            </a:r>
            <a:r>
              <a:rPr spc="-35" dirty="0"/>
              <a:t> </a:t>
            </a:r>
            <a:r>
              <a:rPr spc="13" dirty="0"/>
              <a:t>SMBs</a:t>
            </a:r>
          </a:p>
        </p:txBody>
      </p:sp>
      <p:sp>
        <p:nvSpPr>
          <p:cNvPr id="21" name="Marvintitletrackercircle"/>
          <p:cNvSpPr/>
          <p:nvPr>
            <p:custDataLst>
              <p:tags r:id="rId3"/>
            </p:custDataLst>
          </p:nvPr>
        </p:nvSpPr>
        <p:spPr>
          <a:xfrm>
            <a:off x="146059" y="217489"/>
            <a:ext cx="398463" cy="398463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2"/>
                </a:solidFill>
                <a:latin typeface="+mj-lt"/>
              </a:rPr>
              <a:t>2</a:t>
            </a:r>
          </a:p>
        </p:txBody>
      </p:sp>
      <p:sp>
        <p:nvSpPr>
          <p:cNvPr id="16" name="object 16"/>
          <p:cNvSpPr/>
          <p:nvPr/>
        </p:nvSpPr>
        <p:spPr>
          <a:xfrm>
            <a:off x="2857500" y="4142893"/>
            <a:ext cx="3810000" cy="1985843"/>
          </a:xfrm>
          <a:prstGeom prst="rect">
            <a:avLst/>
          </a:prstGeom>
          <a:blipFill>
            <a:blip r:embed="rId7" cstate="print"/>
            <a:srcRect/>
            <a:stretch>
              <a:fillRect l="-3075" t="-7710" r="-8333" b="-15864"/>
            </a:stretch>
          </a:blipFill>
        </p:spPr>
        <p:txBody>
          <a:bodyPr wrap="square" lIns="0" tIns="0" rIns="0" bIns="0" rtlCol="0"/>
          <a:lstStyle/>
          <a:p>
            <a:endParaRPr sz="1384" dirty="0"/>
          </a:p>
        </p:txBody>
      </p:sp>
      <p:sp>
        <p:nvSpPr>
          <p:cNvPr id="3" name="object 3"/>
          <p:cNvSpPr/>
          <p:nvPr/>
        </p:nvSpPr>
        <p:spPr>
          <a:xfrm>
            <a:off x="371167" y="1365650"/>
            <a:ext cx="3429650" cy="623685"/>
          </a:xfrm>
          <a:custGeom>
            <a:avLst/>
            <a:gdLst/>
            <a:ahLst/>
            <a:cxnLst/>
            <a:rect l="l" t="t" r="r" b="b"/>
            <a:pathLst>
              <a:path w="2969260" h="508000">
                <a:moveTo>
                  <a:pt x="2968758" y="252983"/>
                </a:moveTo>
                <a:lnTo>
                  <a:pt x="2875794" y="0"/>
                </a:lnTo>
                <a:lnTo>
                  <a:pt x="0" y="0"/>
                </a:lnTo>
                <a:lnTo>
                  <a:pt x="0" y="507491"/>
                </a:lnTo>
                <a:lnTo>
                  <a:pt x="4571" y="507491"/>
                </a:lnTo>
                <a:lnTo>
                  <a:pt x="4571" y="7619"/>
                </a:lnTo>
                <a:lnTo>
                  <a:pt x="9143" y="3047"/>
                </a:lnTo>
                <a:lnTo>
                  <a:pt x="9143" y="7619"/>
                </a:lnTo>
                <a:lnTo>
                  <a:pt x="2869698" y="7619"/>
                </a:lnTo>
                <a:lnTo>
                  <a:pt x="2869698" y="4571"/>
                </a:lnTo>
                <a:lnTo>
                  <a:pt x="2872746" y="7619"/>
                </a:lnTo>
                <a:lnTo>
                  <a:pt x="2872746" y="12903"/>
                </a:lnTo>
                <a:lnTo>
                  <a:pt x="2960580" y="252983"/>
                </a:lnTo>
                <a:lnTo>
                  <a:pt x="2961138" y="251459"/>
                </a:lnTo>
                <a:lnTo>
                  <a:pt x="2961138" y="273845"/>
                </a:lnTo>
                <a:lnTo>
                  <a:pt x="2968758" y="252983"/>
                </a:lnTo>
                <a:close/>
              </a:path>
              <a:path w="2969260" h="508000">
                <a:moveTo>
                  <a:pt x="9143" y="7619"/>
                </a:moveTo>
                <a:lnTo>
                  <a:pt x="9143" y="3047"/>
                </a:lnTo>
                <a:lnTo>
                  <a:pt x="4571" y="7619"/>
                </a:lnTo>
                <a:lnTo>
                  <a:pt x="9143" y="7619"/>
                </a:lnTo>
                <a:close/>
              </a:path>
              <a:path w="2969260" h="508000">
                <a:moveTo>
                  <a:pt x="9143" y="499871"/>
                </a:moveTo>
                <a:lnTo>
                  <a:pt x="9143" y="7619"/>
                </a:lnTo>
                <a:lnTo>
                  <a:pt x="4571" y="7619"/>
                </a:lnTo>
                <a:lnTo>
                  <a:pt x="4571" y="499871"/>
                </a:lnTo>
                <a:lnTo>
                  <a:pt x="9143" y="499871"/>
                </a:lnTo>
                <a:close/>
              </a:path>
              <a:path w="2969260" h="508000">
                <a:moveTo>
                  <a:pt x="2872746" y="499871"/>
                </a:moveTo>
                <a:lnTo>
                  <a:pt x="4571" y="499871"/>
                </a:lnTo>
                <a:lnTo>
                  <a:pt x="9143" y="502919"/>
                </a:lnTo>
                <a:lnTo>
                  <a:pt x="9143" y="507491"/>
                </a:lnTo>
                <a:lnTo>
                  <a:pt x="2869698" y="507491"/>
                </a:lnTo>
                <a:lnTo>
                  <a:pt x="2869698" y="501395"/>
                </a:lnTo>
                <a:lnTo>
                  <a:pt x="2870255" y="499871"/>
                </a:lnTo>
                <a:lnTo>
                  <a:pt x="2870255" y="501117"/>
                </a:lnTo>
                <a:lnTo>
                  <a:pt x="2872746" y="499871"/>
                </a:lnTo>
                <a:close/>
              </a:path>
              <a:path w="2969260" h="508000">
                <a:moveTo>
                  <a:pt x="9143" y="507491"/>
                </a:moveTo>
                <a:lnTo>
                  <a:pt x="9143" y="502919"/>
                </a:lnTo>
                <a:lnTo>
                  <a:pt x="4571" y="499871"/>
                </a:lnTo>
                <a:lnTo>
                  <a:pt x="4571" y="507491"/>
                </a:lnTo>
                <a:lnTo>
                  <a:pt x="9143" y="507491"/>
                </a:lnTo>
                <a:close/>
              </a:path>
              <a:path w="2969260" h="508000">
                <a:moveTo>
                  <a:pt x="2872746" y="7619"/>
                </a:moveTo>
                <a:lnTo>
                  <a:pt x="2869698" y="4571"/>
                </a:lnTo>
                <a:lnTo>
                  <a:pt x="2870813" y="7619"/>
                </a:lnTo>
                <a:lnTo>
                  <a:pt x="2872746" y="7619"/>
                </a:lnTo>
                <a:close/>
              </a:path>
              <a:path w="2969260" h="508000">
                <a:moveTo>
                  <a:pt x="2870813" y="7619"/>
                </a:moveTo>
                <a:lnTo>
                  <a:pt x="2869698" y="4571"/>
                </a:lnTo>
                <a:lnTo>
                  <a:pt x="2869698" y="7619"/>
                </a:lnTo>
                <a:lnTo>
                  <a:pt x="2870813" y="7619"/>
                </a:lnTo>
                <a:close/>
              </a:path>
              <a:path w="2969260" h="508000">
                <a:moveTo>
                  <a:pt x="2870255" y="501117"/>
                </a:moveTo>
                <a:lnTo>
                  <a:pt x="2870255" y="499871"/>
                </a:lnTo>
                <a:lnTo>
                  <a:pt x="2869698" y="501395"/>
                </a:lnTo>
                <a:lnTo>
                  <a:pt x="2870255" y="501117"/>
                </a:lnTo>
                <a:close/>
              </a:path>
              <a:path w="2969260" h="508000">
                <a:moveTo>
                  <a:pt x="2872746" y="507491"/>
                </a:moveTo>
                <a:lnTo>
                  <a:pt x="2872746" y="499871"/>
                </a:lnTo>
                <a:lnTo>
                  <a:pt x="2869698" y="501395"/>
                </a:lnTo>
                <a:lnTo>
                  <a:pt x="2869698" y="507491"/>
                </a:lnTo>
                <a:lnTo>
                  <a:pt x="2872746" y="507491"/>
                </a:lnTo>
                <a:close/>
              </a:path>
              <a:path w="2969260" h="508000">
                <a:moveTo>
                  <a:pt x="2961138" y="273845"/>
                </a:moveTo>
                <a:lnTo>
                  <a:pt x="2961138" y="254507"/>
                </a:lnTo>
                <a:lnTo>
                  <a:pt x="2960580" y="252983"/>
                </a:lnTo>
                <a:lnTo>
                  <a:pt x="2870255" y="499871"/>
                </a:lnTo>
                <a:lnTo>
                  <a:pt x="2872746" y="499871"/>
                </a:lnTo>
                <a:lnTo>
                  <a:pt x="2872746" y="507491"/>
                </a:lnTo>
                <a:lnTo>
                  <a:pt x="2875794" y="507491"/>
                </a:lnTo>
                <a:lnTo>
                  <a:pt x="2961138" y="273845"/>
                </a:lnTo>
                <a:close/>
              </a:path>
              <a:path w="2969260" h="508000">
                <a:moveTo>
                  <a:pt x="2872746" y="12903"/>
                </a:moveTo>
                <a:lnTo>
                  <a:pt x="2872746" y="7619"/>
                </a:lnTo>
                <a:lnTo>
                  <a:pt x="2870813" y="7619"/>
                </a:lnTo>
                <a:lnTo>
                  <a:pt x="2872746" y="12903"/>
                </a:lnTo>
                <a:close/>
              </a:path>
              <a:path w="2969260" h="508000">
                <a:moveTo>
                  <a:pt x="2961138" y="254507"/>
                </a:moveTo>
                <a:lnTo>
                  <a:pt x="2961138" y="251459"/>
                </a:lnTo>
                <a:lnTo>
                  <a:pt x="2960580" y="252983"/>
                </a:lnTo>
                <a:lnTo>
                  <a:pt x="2961138" y="254507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400" b="1" dirty="0"/>
          </a:p>
        </p:txBody>
      </p:sp>
      <p:sp>
        <p:nvSpPr>
          <p:cNvPr id="5" name="object 5"/>
          <p:cNvSpPr/>
          <p:nvPr/>
        </p:nvSpPr>
        <p:spPr>
          <a:xfrm>
            <a:off x="3761992" y="1365650"/>
            <a:ext cx="2378577" cy="623685"/>
          </a:xfrm>
          <a:custGeom>
            <a:avLst/>
            <a:gdLst/>
            <a:ahLst/>
            <a:cxnLst/>
            <a:rect l="l" t="t" r="r" b="b"/>
            <a:pathLst>
              <a:path w="1937385" h="508000">
                <a:moveTo>
                  <a:pt x="1937003" y="252983"/>
                </a:moveTo>
                <a:lnTo>
                  <a:pt x="1844039" y="0"/>
                </a:lnTo>
                <a:lnTo>
                  <a:pt x="0" y="0"/>
                </a:lnTo>
                <a:lnTo>
                  <a:pt x="6095" y="16689"/>
                </a:lnTo>
                <a:lnTo>
                  <a:pt x="6095" y="7619"/>
                </a:lnTo>
                <a:lnTo>
                  <a:pt x="9143" y="1523"/>
                </a:lnTo>
                <a:lnTo>
                  <a:pt x="11360" y="7619"/>
                </a:lnTo>
                <a:lnTo>
                  <a:pt x="1837943" y="7619"/>
                </a:lnTo>
                <a:lnTo>
                  <a:pt x="1837943" y="4571"/>
                </a:lnTo>
                <a:lnTo>
                  <a:pt x="1840991" y="7619"/>
                </a:lnTo>
                <a:lnTo>
                  <a:pt x="1840991" y="12903"/>
                </a:lnTo>
                <a:lnTo>
                  <a:pt x="1928826" y="252983"/>
                </a:lnTo>
                <a:lnTo>
                  <a:pt x="1929383" y="251459"/>
                </a:lnTo>
                <a:lnTo>
                  <a:pt x="1929383" y="273845"/>
                </a:lnTo>
                <a:lnTo>
                  <a:pt x="1937003" y="252983"/>
                </a:lnTo>
                <a:close/>
              </a:path>
              <a:path w="1937385" h="508000">
                <a:moveTo>
                  <a:pt x="92963" y="273938"/>
                </a:moveTo>
                <a:lnTo>
                  <a:pt x="92963" y="254507"/>
                </a:lnTo>
                <a:lnTo>
                  <a:pt x="92408" y="252988"/>
                </a:lnTo>
                <a:lnTo>
                  <a:pt x="0" y="507491"/>
                </a:lnTo>
                <a:lnTo>
                  <a:pt x="6095" y="507491"/>
                </a:lnTo>
                <a:lnTo>
                  <a:pt x="6095" y="499871"/>
                </a:lnTo>
                <a:lnTo>
                  <a:pt x="10806" y="499871"/>
                </a:lnTo>
                <a:lnTo>
                  <a:pt x="92963" y="273938"/>
                </a:lnTo>
                <a:close/>
              </a:path>
              <a:path w="1937385" h="508000">
                <a:moveTo>
                  <a:pt x="11360" y="7619"/>
                </a:moveTo>
                <a:lnTo>
                  <a:pt x="9143" y="1523"/>
                </a:lnTo>
                <a:lnTo>
                  <a:pt x="6095" y="7619"/>
                </a:lnTo>
                <a:lnTo>
                  <a:pt x="11360" y="7619"/>
                </a:lnTo>
                <a:close/>
              </a:path>
              <a:path w="1937385" h="508000">
                <a:moveTo>
                  <a:pt x="100583" y="252983"/>
                </a:moveTo>
                <a:lnTo>
                  <a:pt x="11360" y="7619"/>
                </a:lnTo>
                <a:lnTo>
                  <a:pt x="6095" y="7619"/>
                </a:lnTo>
                <a:lnTo>
                  <a:pt x="6095" y="16689"/>
                </a:lnTo>
                <a:lnTo>
                  <a:pt x="92408" y="252988"/>
                </a:lnTo>
                <a:lnTo>
                  <a:pt x="92963" y="251459"/>
                </a:lnTo>
                <a:lnTo>
                  <a:pt x="92963" y="273938"/>
                </a:lnTo>
                <a:lnTo>
                  <a:pt x="100583" y="252983"/>
                </a:lnTo>
                <a:close/>
              </a:path>
              <a:path w="1937385" h="508000">
                <a:moveTo>
                  <a:pt x="10806" y="499871"/>
                </a:moveTo>
                <a:lnTo>
                  <a:pt x="6095" y="499871"/>
                </a:lnTo>
                <a:lnTo>
                  <a:pt x="9143" y="504443"/>
                </a:lnTo>
                <a:lnTo>
                  <a:pt x="10806" y="499871"/>
                </a:lnTo>
                <a:close/>
              </a:path>
              <a:path w="1937385" h="508000">
                <a:moveTo>
                  <a:pt x="1840991" y="499871"/>
                </a:moveTo>
                <a:lnTo>
                  <a:pt x="10806" y="499871"/>
                </a:lnTo>
                <a:lnTo>
                  <a:pt x="9143" y="504443"/>
                </a:lnTo>
                <a:lnTo>
                  <a:pt x="6095" y="499871"/>
                </a:lnTo>
                <a:lnTo>
                  <a:pt x="6095" y="507491"/>
                </a:lnTo>
                <a:lnTo>
                  <a:pt x="1837943" y="507491"/>
                </a:lnTo>
                <a:lnTo>
                  <a:pt x="1837943" y="501395"/>
                </a:lnTo>
                <a:lnTo>
                  <a:pt x="1838501" y="499871"/>
                </a:lnTo>
                <a:lnTo>
                  <a:pt x="1838501" y="501117"/>
                </a:lnTo>
                <a:lnTo>
                  <a:pt x="1840991" y="499871"/>
                </a:lnTo>
                <a:close/>
              </a:path>
              <a:path w="1937385" h="508000">
                <a:moveTo>
                  <a:pt x="92963" y="254507"/>
                </a:moveTo>
                <a:lnTo>
                  <a:pt x="92963" y="251459"/>
                </a:lnTo>
                <a:lnTo>
                  <a:pt x="92408" y="252988"/>
                </a:lnTo>
                <a:lnTo>
                  <a:pt x="92963" y="254507"/>
                </a:lnTo>
                <a:close/>
              </a:path>
              <a:path w="1937385" h="508000">
                <a:moveTo>
                  <a:pt x="1840991" y="7619"/>
                </a:moveTo>
                <a:lnTo>
                  <a:pt x="1837943" y="4571"/>
                </a:lnTo>
                <a:lnTo>
                  <a:pt x="1839059" y="7619"/>
                </a:lnTo>
                <a:lnTo>
                  <a:pt x="1840991" y="7619"/>
                </a:lnTo>
                <a:close/>
              </a:path>
              <a:path w="1937385" h="508000">
                <a:moveTo>
                  <a:pt x="1839059" y="7619"/>
                </a:moveTo>
                <a:lnTo>
                  <a:pt x="1837943" y="4571"/>
                </a:lnTo>
                <a:lnTo>
                  <a:pt x="1837943" y="7619"/>
                </a:lnTo>
                <a:lnTo>
                  <a:pt x="1839059" y="7619"/>
                </a:lnTo>
                <a:close/>
              </a:path>
              <a:path w="1937385" h="508000">
                <a:moveTo>
                  <a:pt x="1838501" y="501117"/>
                </a:moveTo>
                <a:lnTo>
                  <a:pt x="1838501" y="499871"/>
                </a:lnTo>
                <a:lnTo>
                  <a:pt x="1837943" y="501395"/>
                </a:lnTo>
                <a:lnTo>
                  <a:pt x="1838501" y="501117"/>
                </a:lnTo>
                <a:close/>
              </a:path>
              <a:path w="1937385" h="508000">
                <a:moveTo>
                  <a:pt x="1840991" y="507491"/>
                </a:moveTo>
                <a:lnTo>
                  <a:pt x="1840991" y="499871"/>
                </a:lnTo>
                <a:lnTo>
                  <a:pt x="1837943" y="501395"/>
                </a:lnTo>
                <a:lnTo>
                  <a:pt x="1837943" y="507491"/>
                </a:lnTo>
                <a:lnTo>
                  <a:pt x="1840991" y="507491"/>
                </a:lnTo>
                <a:close/>
              </a:path>
              <a:path w="1937385" h="508000">
                <a:moveTo>
                  <a:pt x="1929383" y="273845"/>
                </a:moveTo>
                <a:lnTo>
                  <a:pt x="1929383" y="254507"/>
                </a:lnTo>
                <a:lnTo>
                  <a:pt x="1928826" y="252983"/>
                </a:lnTo>
                <a:lnTo>
                  <a:pt x="1838501" y="499871"/>
                </a:lnTo>
                <a:lnTo>
                  <a:pt x="1840991" y="499871"/>
                </a:lnTo>
                <a:lnTo>
                  <a:pt x="1840991" y="507491"/>
                </a:lnTo>
                <a:lnTo>
                  <a:pt x="1844039" y="507491"/>
                </a:lnTo>
                <a:lnTo>
                  <a:pt x="1929383" y="273845"/>
                </a:lnTo>
                <a:close/>
              </a:path>
              <a:path w="1937385" h="508000">
                <a:moveTo>
                  <a:pt x="1840991" y="12903"/>
                </a:moveTo>
                <a:lnTo>
                  <a:pt x="1840991" y="7619"/>
                </a:lnTo>
                <a:lnTo>
                  <a:pt x="1839059" y="7619"/>
                </a:lnTo>
                <a:lnTo>
                  <a:pt x="1840991" y="12903"/>
                </a:lnTo>
                <a:close/>
              </a:path>
              <a:path w="1937385" h="508000">
                <a:moveTo>
                  <a:pt x="1929383" y="254507"/>
                </a:moveTo>
                <a:lnTo>
                  <a:pt x="1929383" y="251459"/>
                </a:lnTo>
                <a:lnTo>
                  <a:pt x="1928826" y="252983"/>
                </a:lnTo>
                <a:lnTo>
                  <a:pt x="1929383" y="254507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400" b="1" dirty="0"/>
          </a:p>
        </p:txBody>
      </p:sp>
      <p:sp>
        <p:nvSpPr>
          <p:cNvPr id="6" name="object 6"/>
          <p:cNvSpPr txBox="1"/>
          <p:nvPr/>
        </p:nvSpPr>
        <p:spPr>
          <a:xfrm>
            <a:off x="454740" y="1582701"/>
            <a:ext cx="1712905" cy="225425"/>
          </a:xfrm>
          <a:prstGeom prst="rect">
            <a:avLst/>
          </a:prstGeom>
        </p:spPr>
        <p:txBody>
          <a:bodyPr vert="horz" wrap="none" lIns="0" tIns="9885" rIns="0" bIns="0" rtlCol="0">
            <a:spAutoFit/>
          </a:bodyPr>
          <a:lstStyle/>
          <a:p>
            <a:pPr marL="10983">
              <a:spcBef>
                <a:spcPts val="78"/>
              </a:spcBef>
              <a:tabLst>
                <a:tab pos="2538711" algn="l"/>
              </a:tabLst>
            </a:pPr>
            <a:r>
              <a:rPr sz="1400" b="1" spc="-9" dirty="0">
                <a:solidFill>
                  <a:schemeClr val="accent4"/>
                </a:solidFill>
                <a:latin typeface="Arial"/>
                <a:cs typeface="Arial"/>
              </a:rPr>
              <a:t>Identify</a:t>
            </a:r>
            <a:r>
              <a:rPr sz="1400" b="1" spc="43" dirty="0">
                <a:solidFill>
                  <a:schemeClr val="accent4"/>
                </a:solidFill>
                <a:latin typeface="Arial"/>
                <a:cs typeface="Arial"/>
              </a:rPr>
              <a:t> </a:t>
            </a:r>
            <a:r>
              <a:rPr sz="1400" b="1" spc="-9" dirty="0">
                <a:solidFill>
                  <a:schemeClr val="accent4"/>
                </a:solidFill>
                <a:latin typeface="Arial"/>
                <a:cs typeface="Arial"/>
              </a:rPr>
              <a:t>(awareness</a:t>
            </a:r>
            <a:r>
              <a:rPr sz="1400" b="1" spc="-9" dirty="0" smtClean="0">
                <a:solidFill>
                  <a:schemeClr val="accent4"/>
                </a:solidFill>
                <a:latin typeface="Arial"/>
                <a:cs typeface="Arial"/>
              </a:rPr>
              <a:t>)</a:t>
            </a:r>
            <a:endParaRPr sz="1400" b="1" dirty="0">
              <a:solidFill>
                <a:schemeClr val="accent4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101745" y="1365650"/>
            <a:ext cx="2430814" cy="623685"/>
          </a:xfrm>
          <a:custGeom>
            <a:avLst/>
            <a:gdLst/>
            <a:ahLst/>
            <a:cxnLst/>
            <a:rect l="l" t="t" r="r" b="b"/>
            <a:pathLst>
              <a:path w="2237740" h="508000">
                <a:moveTo>
                  <a:pt x="2237231" y="252983"/>
                </a:moveTo>
                <a:lnTo>
                  <a:pt x="2144267" y="0"/>
                </a:lnTo>
                <a:lnTo>
                  <a:pt x="0" y="0"/>
                </a:lnTo>
                <a:lnTo>
                  <a:pt x="6095" y="16689"/>
                </a:lnTo>
                <a:lnTo>
                  <a:pt x="6095" y="7619"/>
                </a:lnTo>
                <a:lnTo>
                  <a:pt x="10667" y="1523"/>
                </a:lnTo>
                <a:lnTo>
                  <a:pt x="12884" y="7619"/>
                </a:lnTo>
                <a:lnTo>
                  <a:pt x="2138171" y="7619"/>
                </a:lnTo>
                <a:lnTo>
                  <a:pt x="2138171" y="4571"/>
                </a:lnTo>
                <a:lnTo>
                  <a:pt x="2142743" y="7619"/>
                </a:lnTo>
                <a:lnTo>
                  <a:pt x="2142743" y="17068"/>
                </a:lnTo>
                <a:lnTo>
                  <a:pt x="2229054" y="252983"/>
                </a:lnTo>
                <a:lnTo>
                  <a:pt x="2229611" y="251459"/>
                </a:lnTo>
                <a:lnTo>
                  <a:pt x="2229611" y="273845"/>
                </a:lnTo>
                <a:lnTo>
                  <a:pt x="2237231" y="252983"/>
                </a:lnTo>
                <a:close/>
              </a:path>
              <a:path w="2237740" h="508000">
                <a:moveTo>
                  <a:pt x="92963" y="278129"/>
                </a:moveTo>
                <a:lnTo>
                  <a:pt x="92963" y="254507"/>
                </a:lnTo>
                <a:lnTo>
                  <a:pt x="92408" y="252988"/>
                </a:lnTo>
                <a:lnTo>
                  <a:pt x="0" y="507491"/>
                </a:lnTo>
                <a:lnTo>
                  <a:pt x="6095" y="507491"/>
                </a:lnTo>
                <a:lnTo>
                  <a:pt x="6095" y="499871"/>
                </a:lnTo>
                <a:lnTo>
                  <a:pt x="12330" y="499871"/>
                </a:lnTo>
                <a:lnTo>
                  <a:pt x="92963" y="278129"/>
                </a:lnTo>
                <a:close/>
              </a:path>
              <a:path w="2237740" h="508000">
                <a:moveTo>
                  <a:pt x="12884" y="7619"/>
                </a:moveTo>
                <a:lnTo>
                  <a:pt x="10667" y="1523"/>
                </a:lnTo>
                <a:lnTo>
                  <a:pt x="6095" y="7619"/>
                </a:lnTo>
                <a:lnTo>
                  <a:pt x="12884" y="7619"/>
                </a:lnTo>
                <a:close/>
              </a:path>
              <a:path w="2237740" h="508000">
                <a:moveTo>
                  <a:pt x="102107" y="252983"/>
                </a:moveTo>
                <a:lnTo>
                  <a:pt x="12884" y="7619"/>
                </a:lnTo>
                <a:lnTo>
                  <a:pt x="6095" y="7619"/>
                </a:lnTo>
                <a:lnTo>
                  <a:pt x="6095" y="16689"/>
                </a:lnTo>
                <a:lnTo>
                  <a:pt x="92408" y="252988"/>
                </a:lnTo>
                <a:lnTo>
                  <a:pt x="92963" y="251459"/>
                </a:lnTo>
                <a:lnTo>
                  <a:pt x="92963" y="278129"/>
                </a:lnTo>
                <a:lnTo>
                  <a:pt x="102107" y="252983"/>
                </a:lnTo>
                <a:close/>
              </a:path>
              <a:path w="2237740" h="508000">
                <a:moveTo>
                  <a:pt x="12330" y="499871"/>
                </a:moveTo>
                <a:lnTo>
                  <a:pt x="6095" y="499871"/>
                </a:lnTo>
                <a:lnTo>
                  <a:pt x="10667" y="504443"/>
                </a:lnTo>
                <a:lnTo>
                  <a:pt x="12330" y="499871"/>
                </a:lnTo>
                <a:close/>
              </a:path>
              <a:path w="2237740" h="508000">
                <a:moveTo>
                  <a:pt x="2138729" y="499871"/>
                </a:moveTo>
                <a:lnTo>
                  <a:pt x="12330" y="499871"/>
                </a:lnTo>
                <a:lnTo>
                  <a:pt x="10667" y="504443"/>
                </a:lnTo>
                <a:lnTo>
                  <a:pt x="6095" y="499871"/>
                </a:lnTo>
                <a:lnTo>
                  <a:pt x="6095" y="507491"/>
                </a:lnTo>
                <a:lnTo>
                  <a:pt x="2138171" y="507491"/>
                </a:lnTo>
                <a:lnTo>
                  <a:pt x="2138171" y="501395"/>
                </a:lnTo>
                <a:lnTo>
                  <a:pt x="2138729" y="499871"/>
                </a:lnTo>
                <a:close/>
              </a:path>
              <a:path w="2237740" h="508000">
                <a:moveTo>
                  <a:pt x="92963" y="254507"/>
                </a:moveTo>
                <a:lnTo>
                  <a:pt x="92963" y="251459"/>
                </a:lnTo>
                <a:lnTo>
                  <a:pt x="92408" y="252988"/>
                </a:lnTo>
                <a:lnTo>
                  <a:pt x="92963" y="254507"/>
                </a:lnTo>
                <a:close/>
              </a:path>
              <a:path w="2237740" h="508000">
                <a:moveTo>
                  <a:pt x="2142743" y="7619"/>
                </a:moveTo>
                <a:lnTo>
                  <a:pt x="2138171" y="4571"/>
                </a:lnTo>
                <a:lnTo>
                  <a:pt x="2139287" y="7619"/>
                </a:lnTo>
                <a:lnTo>
                  <a:pt x="2142743" y="7619"/>
                </a:lnTo>
                <a:close/>
              </a:path>
              <a:path w="2237740" h="508000">
                <a:moveTo>
                  <a:pt x="2139287" y="7619"/>
                </a:moveTo>
                <a:lnTo>
                  <a:pt x="2138171" y="4571"/>
                </a:lnTo>
                <a:lnTo>
                  <a:pt x="2138171" y="7619"/>
                </a:lnTo>
                <a:lnTo>
                  <a:pt x="2139287" y="7619"/>
                </a:lnTo>
                <a:close/>
              </a:path>
              <a:path w="2237740" h="508000">
                <a:moveTo>
                  <a:pt x="2142743" y="499871"/>
                </a:moveTo>
                <a:lnTo>
                  <a:pt x="2138729" y="499871"/>
                </a:lnTo>
                <a:lnTo>
                  <a:pt x="2138171" y="501395"/>
                </a:lnTo>
                <a:lnTo>
                  <a:pt x="2142743" y="499871"/>
                </a:lnTo>
                <a:close/>
              </a:path>
              <a:path w="2237740" h="508000">
                <a:moveTo>
                  <a:pt x="2142743" y="507491"/>
                </a:moveTo>
                <a:lnTo>
                  <a:pt x="2142743" y="499871"/>
                </a:lnTo>
                <a:lnTo>
                  <a:pt x="2138171" y="501395"/>
                </a:lnTo>
                <a:lnTo>
                  <a:pt x="2138171" y="507491"/>
                </a:lnTo>
                <a:lnTo>
                  <a:pt x="2142743" y="507491"/>
                </a:lnTo>
                <a:close/>
              </a:path>
              <a:path w="2237740" h="508000">
                <a:moveTo>
                  <a:pt x="2229611" y="273845"/>
                </a:moveTo>
                <a:lnTo>
                  <a:pt x="2229611" y="254507"/>
                </a:lnTo>
                <a:lnTo>
                  <a:pt x="2229054" y="252983"/>
                </a:lnTo>
                <a:lnTo>
                  <a:pt x="2138729" y="499871"/>
                </a:lnTo>
                <a:lnTo>
                  <a:pt x="2142743" y="499871"/>
                </a:lnTo>
                <a:lnTo>
                  <a:pt x="2142743" y="507491"/>
                </a:lnTo>
                <a:lnTo>
                  <a:pt x="2144267" y="507491"/>
                </a:lnTo>
                <a:lnTo>
                  <a:pt x="2229611" y="273845"/>
                </a:lnTo>
                <a:close/>
              </a:path>
              <a:path w="2237740" h="508000">
                <a:moveTo>
                  <a:pt x="2142743" y="17068"/>
                </a:moveTo>
                <a:lnTo>
                  <a:pt x="2142743" y="7619"/>
                </a:lnTo>
                <a:lnTo>
                  <a:pt x="2139287" y="7619"/>
                </a:lnTo>
                <a:lnTo>
                  <a:pt x="2142743" y="17068"/>
                </a:lnTo>
                <a:close/>
              </a:path>
              <a:path w="2237740" h="508000">
                <a:moveTo>
                  <a:pt x="2229611" y="254507"/>
                </a:moveTo>
                <a:lnTo>
                  <a:pt x="2229611" y="251459"/>
                </a:lnTo>
                <a:lnTo>
                  <a:pt x="2229054" y="252983"/>
                </a:lnTo>
                <a:lnTo>
                  <a:pt x="2229611" y="254507"/>
                </a:lnTo>
                <a:close/>
              </a:path>
            </a:pathLst>
          </a:custGeom>
          <a:solidFill>
            <a:srgbClr val="1F3FE6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400" b="1" dirty="0"/>
          </a:p>
        </p:txBody>
      </p:sp>
      <p:sp>
        <p:nvSpPr>
          <p:cNvPr id="9" name="object 9"/>
          <p:cNvSpPr txBox="1"/>
          <p:nvPr/>
        </p:nvSpPr>
        <p:spPr>
          <a:xfrm>
            <a:off x="6296286" y="1456124"/>
            <a:ext cx="1522571" cy="440869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10983" marR="4393">
              <a:spcBef>
                <a:spcPts val="78"/>
              </a:spcBef>
            </a:pPr>
            <a:r>
              <a:rPr sz="1400" b="1" spc="-9" dirty="0">
                <a:solidFill>
                  <a:schemeClr val="accent4"/>
                </a:solidFill>
                <a:latin typeface="Arial"/>
                <a:cs typeface="Arial"/>
              </a:rPr>
              <a:t>Consideration </a:t>
            </a:r>
            <a:r>
              <a:rPr sz="1400" b="1" spc="-4" dirty="0">
                <a:solidFill>
                  <a:schemeClr val="accent4"/>
                </a:solidFill>
                <a:latin typeface="Arial"/>
                <a:cs typeface="Arial"/>
              </a:rPr>
              <a:t>&amp;  </a:t>
            </a:r>
            <a:r>
              <a:rPr sz="1400" b="1" spc="-9" dirty="0">
                <a:solidFill>
                  <a:schemeClr val="accent4"/>
                </a:solidFill>
                <a:latin typeface="Arial"/>
                <a:cs typeface="Arial"/>
              </a:rPr>
              <a:t>evaluation</a:t>
            </a:r>
            <a:endParaRPr sz="1400" b="1" dirty="0">
              <a:solidFill>
                <a:schemeClr val="accent4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8480322" y="1369394"/>
            <a:ext cx="1581040" cy="614329"/>
          </a:xfrm>
          <a:custGeom>
            <a:avLst/>
            <a:gdLst/>
            <a:ahLst/>
            <a:cxnLst/>
            <a:rect l="l" t="t" r="r" b="b"/>
            <a:pathLst>
              <a:path w="1287779" h="500380">
                <a:moveTo>
                  <a:pt x="1287779" y="249935"/>
                </a:moveTo>
                <a:lnTo>
                  <a:pt x="1196339" y="0"/>
                </a:lnTo>
                <a:lnTo>
                  <a:pt x="0" y="0"/>
                </a:lnTo>
                <a:lnTo>
                  <a:pt x="91439" y="249935"/>
                </a:lnTo>
                <a:lnTo>
                  <a:pt x="91439" y="499871"/>
                </a:lnTo>
                <a:lnTo>
                  <a:pt x="1196339" y="499871"/>
                </a:lnTo>
                <a:lnTo>
                  <a:pt x="1287779" y="249935"/>
                </a:lnTo>
                <a:close/>
              </a:path>
              <a:path w="1287779" h="500380">
                <a:moveTo>
                  <a:pt x="91439" y="499871"/>
                </a:moveTo>
                <a:lnTo>
                  <a:pt x="91439" y="249935"/>
                </a:lnTo>
                <a:lnTo>
                  <a:pt x="0" y="499871"/>
                </a:lnTo>
                <a:lnTo>
                  <a:pt x="91439" y="499871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400" b="1" dirty="0"/>
          </a:p>
        </p:txBody>
      </p:sp>
      <p:sp>
        <p:nvSpPr>
          <p:cNvPr id="12" name="object 12"/>
          <p:cNvSpPr txBox="1"/>
          <p:nvPr/>
        </p:nvSpPr>
        <p:spPr>
          <a:xfrm>
            <a:off x="8722933" y="1581767"/>
            <a:ext cx="915257" cy="225425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10983">
              <a:spcBef>
                <a:spcPts val="78"/>
              </a:spcBef>
            </a:pPr>
            <a:r>
              <a:rPr sz="1400" b="1" spc="-9" dirty="0">
                <a:solidFill>
                  <a:srgbClr val="FFFFFF"/>
                </a:solidFill>
                <a:latin typeface="Arial"/>
                <a:cs typeface="Arial"/>
              </a:rPr>
              <a:t>Purchase</a:t>
            </a:r>
            <a:endParaRPr sz="1400" b="1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229129" y="1581767"/>
            <a:ext cx="1115152" cy="440869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10983" marR="4393">
              <a:spcBef>
                <a:spcPts val="78"/>
              </a:spcBef>
            </a:pPr>
            <a:r>
              <a:rPr sz="1400" b="1" spc="-4" dirty="0">
                <a:solidFill>
                  <a:srgbClr val="FFFFFF"/>
                </a:solidFill>
                <a:latin typeface="Arial"/>
                <a:cs typeface="Arial"/>
              </a:rPr>
              <a:t>Use &amp;  s</a:t>
            </a:r>
            <a:r>
              <a:rPr sz="1400" b="1" spc="-9" dirty="0">
                <a:solidFill>
                  <a:srgbClr val="FFFFFF"/>
                </a:solidFill>
                <a:latin typeface="Arial"/>
                <a:cs typeface="Arial"/>
              </a:rPr>
              <a:t>er</a:t>
            </a:r>
            <a:r>
              <a:rPr sz="1400" b="1" spc="-17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400" b="1" spc="-4" dirty="0">
                <a:solidFill>
                  <a:srgbClr val="FFFFFF"/>
                </a:solidFill>
                <a:latin typeface="Arial"/>
                <a:cs typeface="Arial"/>
              </a:rPr>
              <a:t>ice</a:t>
            </a:r>
            <a:endParaRPr sz="1400" b="1" dirty="0">
              <a:latin typeface="Arial"/>
              <a:cs typeface="Arial"/>
            </a:endParaRPr>
          </a:p>
        </p:txBody>
      </p:sp>
      <p:sp>
        <p:nvSpPr>
          <p:cNvPr id="23" name="object 6"/>
          <p:cNvSpPr txBox="1"/>
          <p:nvPr/>
        </p:nvSpPr>
        <p:spPr>
          <a:xfrm>
            <a:off x="4034345" y="1582701"/>
            <a:ext cx="807978" cy="225425"/>
          </a:xfrm>
          <a:prstGeom prst="rect">
            <a:avLst/>
          </a:prstGeom>
        </p:spPr>
        <p:txBody>
          <a:bodyPr vert="horz" wrap="none" lIns="0" tIns="9885" rIns="0" bIns="0" rtlCol="0">
            <a:spAutoFit/>
          </a:bodyPr>
          <a:lstStyle/>
          <a:p>
            <a:pPr marL="10983">
              <a:spcBef>
                <a:spcPts val="78"/>
              </a:spcBef>
              <a:tabLst>
                <a:tab pos="2538711" algn="l"/>
              </a:tabLst>
            </a:pPr>
            <a:r>
              <a:rPr lang="en-US" sz="1400" b="1" spc="-9" dirty="0">
                <a:solidFill>
                  <a:schemeClr val="accent4"/>
                </a:solidFill>
                <a:latin typeface="Arial"/>
                <a:cs typeface="Arial"/>
              </a:rPr>
              <a:t>Research</a:t>
            </a:r>
            <a:endParaRPr lang="en-US" sz="1400" b="1" dirty="0">
              <a:solidFill>
                <a:schemeClr val="accent4"/>
              </a:solidFill>
              <a:latin typeface="Arial"/>
              <a:cs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59317" y="2046769"/>
            <a:ext cx="6460583" cy="1887419"/>
          </a:xfrm>
          <a:prstGeom prst="rect">
            <a:avLst/>
          </a:prstGeom>
        </p:spPr>
        <p:txBody>
          <a:bodyPr vert="horz" wrap="square" lIns="0" tIns="9885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Make it </a:t>
            </a:r>
            <a:r>
              <a:rPr lang="en-US" sz="1400" b="1" dirty="0" smtClean="0">
                <a:solidFill>
                  <a:schemeClr val="accent4"/>
                </a:solidFill>
              </a:rPr>
              <a:t>easy to find 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what visitors need </a:t>
            </a:r>
            <a:r>
              <a:rPr lang="en-US" sz="1400" dirty="0" smtClean="0">
                <a:cs typeface="Arial" panose="020B0604020202020204" pitchFamily="34" charset="0"/>
              </a:rPr>
              <a:t>by personalizing content e.g.,  "Tell us who you are" with personal options e.g., "I am an HR executive",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Promote 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whitepapers strategically  for SMBs </a:t>
            </a:r>
            <a:r>
              <a:rPr lang="en-US" sz="1400" b="1" dirty="0" smtClean="0">
                <a:solidFill>
                  <a:schemeClr val="accent4"/>
                </a:solidFill>
              </a:rPr>
              <a:t>based on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 relevance</a:t>
            </a:r>
            <a:endParaRPr lang="en-US" sz="14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300"/>
              </a:spcBef>
            </a:pP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Make it easy to </a:t>
            </a:r>
            <a:r>
              <a:rPr lang="en-US" sz="1400" b="1" dirty="0" smtClean="0">
                <a:solidFill>
                  <a:schemeClr val="accent4"/>
                </a:solidFill>
              </a:rPr>
              <a:t>answer 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questions for SMBs:</a:t>
            </a:r>
            <a:endParaRPr lang="en-US" sz="14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3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Build 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“live chat” for </a:t>
            </a:r>
            <a:r>
              <a:rPr lang="en-US" sz="1400" b="1" dirty="0" smtClean="0">
                <a:solidFill>
                  <a:schemeClr val="accent4"/>
                </a:solidFill>
              </a:rPr>
              <a:t>SMBs </a:t>
            </a:r>
            <a:r>
              <a:rPr lang="en-US" sz="1400" dirty="0" smtClean="0">
                <a:cs typeface="Arial" panose="020B0604020202020204" pitchFamily="34" charset="0"/>
              </a:rPr>
              <a:t>(based on personalized data) 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that is  persistent at navigation</a:t>
            </a:r>
            <a:endParaRPr lang="en-US" sz="1400" dirty="0" smtClean="0">
              <a:solidFill>
                <a:schemeClr val="accent4"/>
              </a:solidFill>
              <a:cs typeface="Arial" panose="020B0604020202020204" pitchFamily="34" charset="0"/>
            </a:endParaRPr>
          </a:p>
          <a:p>
            <a:pPr lvl="1">
              <a:spcBef>
                <a:spcPts val="3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Show </a:t>
            </a:r>
            <a:r>
              <a:rPr lang="en-US" sz="1400" b="1" dirty="0" smtClean="0">
                <a:solidFill>
                  <a:schemeClr val="accent4"/>
                </a:solidFill>
                <a:cs typeface="Arial" panose="020B0604020202020204" pitchFamily="34" charset="0"/>
              </a:rPr>
              <a:t>product features as an easy to navigate, </a:t>
            </a:r>
            <a:r>
              <a:rPr lang="en-US" sz="1400" b="1" dirty="0" smtClean="0">
                <a:solidFill>
                  <a:schemeClr val="accent4"/>
                </a:solidFill>
              </a:rPr>
              <a:t>finite list </a:t>
            </a:r>
            <a:r>
              <a:rPr lang="en-US" sz="1400" dirty="0" smtClean="0">
                <a:cs typeface="Arial" panose="020B0604020202020204" pitchFamily="34" charset="0"/>
              </a:rPr>
              <a:t>e.g., show as  a list of options or fixed icons with highlight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334250" y="2046769"/>
            <a:ext cx="4010031" cy="2231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or SMBs, reduce </a:t>
            </a:r>
            <a:r>
              <a:rPr lang="en-US" sz="140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 form to 3  fields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Name, email address, zip code)  and </a:t>
            </a:r>
            <a:r>
              <a:rPr lang="en-US" sz="140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ion estimated time to  complete (e.g., ~30 seconds)</a:t>
            </a:r>
          </a:p>
          <a:p>
            <a:pPr lvl="1">
              <a:spcBef>
                <a:spcPts val="300"/>
              </a:spcBef>
            </a:pPr>
            <a:r>
              <a:rPr lang="en-US" sz="140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ize steps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o download whitepapers  by </a:t>
            </a:r>
            <a:r>
              <a:rPr lang="en-US" sz="140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ing the 'Download now' option  on home page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dd a </a:t>
            </a:r>
            <a:r>
              <a:rPr lang="en-US" sz="140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e calendaring option on  rollover (schedule consultation)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o view  available time slots for web demo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object 13"/>
          <p:cNvSpPr/>
          <p:nvPr/>
        </p:nvSpPr>
        <p:spPr>
          <a:xfrm>
            <a:off x="9986522" y="1369394"/>
            <a:ext cx="1528807" cy="614329"/>
          </a:xfrm>
          <a:custGeom>
            <a:avLst/>
            <a:gdLst/>
            <a:ahLst/>
            <a:cxnLst/>
            <a:rect l="l" t="t" r="r" b="b"/>
            <a:pathLst>
              <a:path w="1245234" h="500380">
                <a:moveTo>
                  <a:pt x="1245107" y="249935"/>
                </a:moveTo>
                <a:lnTo>
                  <a:pt x="1153667" y="0"/>
                </a:lnTo>
                <a:lnTo>
                  <a:pt x="0" y="0"/>
                </a:lnTo>
                <a:lnTo>
                  <a:pt x="91439" y="249935"/>
                </a:lnTo>
                <a:lnTo>
                  <a:pt x="91439" y="499871"/>
                </a:lnTo>
                <a:lnTo>
                  <a:pt x="1153667" y="499871"/>
                </a:lnTo>
                <a:lnTo>
                  <a:pt x="1245107" y="249935"/>
                </a:lnTo>
                <a:close/>
              </a:path>
              <a:path w="1245234" h="500380">
                <a:moveTo>
                  <a:pt x="91439" y="499871"/>
                </a:moveTo>
                <a:lnTo>
                  <a:pt x="91439" y="249935"/>
                </a:lnTo>
                <a:lnTo>
                  <a:pt x="0" y="499871"/>
                </a:lnTo>
                <a:lnTo>
                  <a:pt x="91439" y="499871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sz="1400" b="1" dirty="0"/>
          </a:p>
        </p:txBody>
      </p:sp>
      <p:sp>
        <p:nvSpPr>
          <p:cNvPr id="39" name="object 12"/>
          <p:cNvSpPr txBox="1"/>
          <p:nvPr/>
        </p:nvSpPr>
        <p:spPr>
          <a:xfrm>
            <a:off x="10251736" y="1456124"/>
            <a:ext cx="915257" cy="440869"/>
          </a:xfrm>
          <a:prstGeom prst="rect">
            <a:avLst/>
          </a:prstGeom>
        </p:spPr>
        <p:txBody>
          <a:bodyPr vert="horz" wrap="square" lIns="0" tIns="9885" rIns="0" bIns="0" rtlCol="0">
            <a:spAutoFit/>
          </a:bodyPr>
          <a:lstStyle/>
          <a:p>
            <a:pPr marL="10983">
              <a:spcBef>
                <a:spcPts val="78"/>
              </a:spcBef>
            </a:pPr>
            <a:r>
              <a:rPr lang="en-US" sz="1400" b="1" spc="-9" dirty="0">
                <a:solidFill>
                  <a:srgbClr val="FFFFFF"/>
                </a:solidFill>
                <a:latin typeface="Arial"/>
                <a:cs typeface="Arial"/>
              </a:rPr>
              <a:t>Use &amp;  service</a:t>
            </a:r>
          </a:p>
        </p:txBody>
      </p:sp>
    </p:spTree>
    <p:extLst>
      <p:ext uri="{BB962C8B-B14F-4D97-AF65-F5344CB8AC3E}">
        <p14:creationId xmlns:p14="http://schemas.microsoft.com/office/powerpoint/2010/main" val="264473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58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8759" y="230189"/>
            <a:ext cx="10331441" cy="753081"/>
          </a:xfrm>
          <a:prstGeom prst="rect">
            <a:avLst/>
          </a:prstGeom>
        </p:spPr>
        <p:txBody>
          <a:bodyPr vert="horz" wrap="square" lIns="0" tIns="14278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>
              <a:spcBef>
                <a:spcPts val="112"/>
              </a:spcBef>
            </a:pPr>
            <a:r>
              <a:rPr spc="22" dirty="0" smtClean="0"/>
              <a:t>GTM </a:t>
            </a:r>
            <a:r>
              <a:rPr spc="9" dirty="0"/>
              <a:t>Model </a:t>
            </a:r>
            <a:r>
              <a:rPr spc="13" dirty="0"/>
              <a:t>– We </a:t>
            </a:r>
            <a:r>
              <a:rPr spc="4" dirty="0"/>
              <a:t>scaled </a:t>
            </a:r>
            <a:r>
              <a:rPr spc="9" dirty="0"/>
              <a:t>up </a:t>
            </a:r>
            <a:r>
              <a:rPr spc="4" dirty="0"/>
              <a:t>Inside Sales </a:t>
            </a:r>
            <a:r>
              <a:rPr spc="9" dirty="0"/>
              <a:t>and Lead Development to</a:t>
            </a:r>
            <a:r>
              <a:rPr spc="74" dirty="0"/>
              <a:t> </a:t>
            </a:r>
            <a:r>
              <a:rPr spc="9" dirty="0"/>
              <a:t>ensure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0107513" y="983270"/>
            <a:ext cx="997037" cy="195673"/>
            <a:chOff x="10348900" y="836664"/>
            <a:chExt cx="997037" cy="195673"/>
          </a:xfrm>
        </p:grpSpPr>
        <p:sp>
          <p:nvSpPr>
            <p:cNvPr id="3" name="object 3"/>
            <p:cNvSpPr/>
            <p:nvPr/>
          </p:nvSpPr>
          <p:spPr>
            <a:xfrm>
              <a:off x="10348900" y="852552"/>
              <a:ext cx="171023" cy="16389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lIns="0" tIns="0" rIns="0" bIns="0" rtlCol="0"/>
            <a:lstStyle/>
            <a:p>
              <a:endParaRPr sz="1200" dirty="0"/>
            </a:p>
          </p:txBody>
        </p:sp>
        <p:sp>
          <p:nvSpPr>
            <p:cNvPr id="4" name="object 4"/>
            <p:cNvSpPr txBox="1"/>
            <p:nvPr/>
          </p:nvSpPr>
          <p:spPr>
            <a:xfrm>
              <a:off x="10588803" y="836664"/>
              <a:ext cx="757134" cy="195673"/>
            </a:xfrm>
            <a:prstGeom prst="rect">
              <a:avLst/>
            </a:prstGeom>
          </p:spPr>
          <p:txBody>
            <a:bodyPr vert="horz" wrap="square" lIns="0" tIns="11532" rIns="0" bIns="0" rtlCol="0">
              <a:spAutoFit/>
            </a:bodyPr>
            <a:lstStyle/>
            <a:p>
              <a:pPr marL="10983">
                <a:spcBef>
                  <a:spcPts val="91"/>
                </a:spcBef>
              </a:pPr>
              <a:r>
                <a:rPr sz="1200" spc="-4" dirty="0">
                  <a:solidFill>
                    <a:srgbClr val="3D3C3F"/>
                  </a:solidFill>
                  <a:latin typeface="Arial"/>
                  <a:cs typeface="Arial"/>
                </a:rPr>
                <a:t>SMB</a:t>
              </a:r>
              <a:r>
                <a:rPr sz="1200" spc="-39" dirty="0">
                  <a:solidFill>
                    <a:srgbClr val="3D3C3F"/>
                  </a:solidFill>
                  <a:latin typeface="Arial"/>
                  <a:cs typeface="Arial"/>
                </a:rPr>
                <a:t> </a:t>
              </a:r>
              <a:r>
                <a:rPr sz="1200" dirty="0">
                  <a:solidFill>
                    <a:srgbClr val="3D3C3F"/>
                  </a:solidFill>
                  <a:latin typeface="Arial"/>
                  <a:cs typeface="Arial"/>
                </a:rPr>
                <a:t>focus</a:t>
              </a:r>
              <a:endParaRPr sz="1200" dirty="0">
                <a:latin typeface="Arial"/>
                <a:cs typeface="Arial"/>
              </a:endParaRPr>
            </a:p>
          </p:txBody>
        </p:sp>
      </p:grpSp>
      <p:sp>
        <p:nvSpPr>
          <p:cNvPr id="28" name="Marvintitletrackercircle"/>
          <p:cNvSpPr/>
          <p:nvPr>
            <p:custDataLst>
              <p:tags r:id="rId3"/>
            </p:custDataLst>
          </p:nvPr>
        </p:nvSpPr>
        <p:spPr>
          <a:xfrm>
            <a:off x="146059" y="217489"/>
            <a:ext cx="398463" cy="398463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2"/>
                </a:solidFill>
                <a:latin typeface="+mj-lt"/>
              </a:rPr>
              <a:t>3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497507" y="1154670"/>
            <a:ext cx="10814395" cy="5244844"/>
            <a:chOff x="593446" y="852068"/>
            <a:chExt cx="10814395" cy="5244844"/>
          </a:xfrm>
        </p:grpSpPr>
        <p:sp>
          <p:nvSpPr>
            <p:cNvPr id="5" name="object 5"/>
            <p:cNvSpPr>
              <a:spLocks/>
            </p:cNvSpPr>
            <p:nvPr/>
          </p:nvSpPr>
          <p:spPr>
            <a:xfrm>
              <a:off x="593446" y="1155882"/>
              <a:ext cx="10814395" cy="340710"/>
            </a:xfrm>
            <a:custGeom>
              <a:avLst/>
              <a:gdLst/>
              <a:ahLst/>
              <a:cxnLst/>
              <a:rect l="l" t="t" r="r" b="b"/>
              <a:pathLst>
                <a:path w="9251315" h="291464">
                  <a:moveTo>
                    <a:pt x="9250685" y="288035"/>
                  </a:moveTo>
                  <a:lnTo>
                    <a:pt x="9250685" y="4571"/>
                  </a:lnTo>
                  <a:lnTo>
                    <a:pt x="9246113" y="0"/>
                  </a:lnTo>
                  <a:lnTo>
                    <a:pt x="4571" y="0"/>
                  </a:lnTo>
                  <a:lnTo>
                    <a:pt x="0" y="4571"/>
                  </a:lnTo>
                  <a:lnTo>
                    <a:pt x="0" y="288035"/>
                  </a:lnTo>
                  <a:lnTo>
                    <a:pt x="4571" y="291083"/>
                  </a:lnTo>
                  <a:lnTo>
                    <a:pt x="9143" y="291083"/>
                  </a:lnTo>
                  <a:lnTo>
                    <a:pt x="9143" y="16763"/>
                  </a:lnTo>
                  <a:lnTo>
                    <a:pt x="16763" y="9143"/>
                  </a:lnTo>
                  <a:lnTo>
                    <a:pt x="16763" y="16763"/>
                  </a:lnTo>
                  <a:lnTo>
                    <a:pt x="9233921" y="16763"/>
                  </a:lnTo>
                  <a:lnTo>
                    <a:pt x="9233921" y="9143"/>
                  </a:lnTo>
                  <a:lnTo>
                    <a:pt x="9243065" y="16763"/>
                  </a:lnTo>
                  <a:lnTo>
                    <a:pt x="9243065" y="291083"/>
                  </a:lnTo>
                  <a:lnTo>
                    <a:pt x="9246113" y="291083"/>
                  </a:lnTo>
                  <a:lnTo>
                    <a:pt x="9250685" y="288035"/>
                  </a:lnTo>
                  <a:close/>
                </a:path>
                <a:path w="9251315" h="291464">
                  <a:moveTo>
                    <a:pt x="16763" y="16763"/>
                  </a:moveTo>
                  <a:lnTo>
                    <a:pt x="16763" y="9143"/>
                  </a:lnTo>
                  <a:lnTo>
                    <a:pt x="9143" y="16763"/>
                  </a:lnTo>
                  <a:lnTo>
                    <a:pt x="16763" y="16763"/>
                  </a:lnTo>
                  <a:close/>
                </a:path>
                <a:path w="9251315" h="291464">
                  <a:moveTo>
                    <a:pt x="16763" y="275843"/>
                  </a:moveTo>
                  <a:lnTo>
                    <a:pt x="16763" y="16763"/>
                  </a:lnTo>
                  <a:lnTo>
                    <a:pt x="9143" y="16763"/>
                  </a:lnTo>
                  <a:lnTo>
                    <a:pt x="9143" y="275843"/>
                  </a:lnTo>
                  <a:lnTo>
                    <a:pt x="16763" y="275843"/>
                  </a:lnTo>
                  <a:close/>
                </a:path>
                <a:path w="9251315" h="291464">
                  <a:moveTo>
                    <a:pt x="9243065" y="275843"/>
                  </a:moveTo>
                  <a:lnTo>
                    <a:pt x="9143" y="275843"/>
                  </a:lnTo>
                  <a:lnTo>
                    <a:pt x="16763" y="283463"/>
                  </a:lnTo>
                  <a:lnTo>
                    <a:pt x="16763" y="291083"/>
                  </a:lnTo>
                  <a:lnTo>
                    <a:pt x="9233921" y="291083"/>
                  </a:lnTo>
                  <a:lnTo>
                    <a:pt x="9233921" y="283463"/>
                  </a:lnTo>
                  <a:lnTo>
                    <a:pt x="9243065" y="275843"/>
                  </a:lnTo>
                  <a:close/>
                </a:path>
                <a:path w="9251315" h="291464">
                  <a:moveTo>
                    <a:pt x="16763" y="291083"/>
                  </a:moveTo>
                  <a:lnTo>
                    <a:pt x="16763" y="283463"/>
                  </a:lnTo>
                  <a:lnTo>
                    <a:pt x="9143" y="275843"/>
                  </a:lnTo>
                  <a:lnTo>
                    <a:pt x="9143" y="291083"/>
                  </a:lnTo>
                  <a:lnTo>
                    <a:pt x="16763" y="291083"/>
                  </a:lnTo>
                  <a:close/>
                </a:path>
                <a:path w="9251315" h="291464">
                  <a:moveTo>
                    <a:pt x="9243065" y="16763"/>
                  </a:moveTo>
                  <a:lnTo>
                    <a:pt x="9233921" y="9143"/>
                  </a:lnTo>
                  <a:lnTo>
                    <a:pt x="9233921" y="16763"/>
                  </a:lnTo>
                  <a:lnTo>
                    <a:pt x="9243065" y="16763"/>
                  </a:lnTo>
                  <a:close/>
                </a:path>
                <a:path w="9251315" h="291464">
                  <a:moveTo>
                    <a:pt x="9243065" y="275843"/>
                  </a:moveTo>
                  <a:lnTo>
                    <a:pt x="9243065" y="16763"/>
                  </a:lnTo>
                  <a:lnTo>
                    <a:pt x="9233921" y="16763"/>
                  </a:lnTo>
                  <a:lnTo>
                    <a:pt x="9233921" y="275843"/>
                  </a:lnTo>
                  <a:lnTo>
                    <a:pt x="9243065" y="275843"/>
                  </a:lnTo>
                  <a:close/>
                </a:path>
                <a:path w="9251315" h="291464">
                  <a:moveTo>
                    <a:pt x="9243065" y="291083"/>
                  </a:moveTo>
                  <a:lnTo>
                    <a:pt x="9243065" y="275843"/>
                  </a:lnTo>
                  <a:lnTo>
                    <a:pt x="9233921" y="283463"/>
                  </a:lnTo>
                  <a:lnTo>
                    <a:pt x="9233921" y="291083"/>
                  </a:lnTo>
                  <a:lnTo>
                    <a:pt x="9243065" y="291083"/>
                  </a:lnTo>
                  <a:close/>
                </a:path>
              </a:pathLst>
            </a:custGeom>
            <a:solidFill>
              <a:srgbClr val="1F3FE6"/>
            </a:solidFill>
            <a:ln w="12700">
              <a:solidFill>
                <a:schemeClr val="accent4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2897305">
                <a:spcBef>
                  <a:spcPts val="1185"/>
                </a:spcBef>
              </a:pPr>
              <a:r>
                <a:rPr lang="en-US" sz="1400" b="1" spc="-9" dirty="0">
                  <a:solidFill>
                    <a:schemeClr val="accent4"/>
                  </a:solidFill>
                  <a:latin typeface="+mn-lt"/>
                  <a:cs typeface="Arial"/>
                </a:rPr>
                <a:t>All </a:t>
              </a:r>
              <a:r>
                <a:rPr lang="en-US"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sales teams retain </a:t>
              </a:r>
              <a:r>
                <a:rPr lang="en-US" sz="1400" b="1" dirty="0">
                  <a:solidFill>
                    <a:schemeClr val="accent4"/>
                  </a:solidFill>
                  <a:latin typeface="+mn-lt"/>
                  <a:cs typeface="Arial"/>
                </a:rPr>
                <a:t>vertical</a:t>
              </a:r>
              <a:r>
                <a:rPr lang="en-US"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 </a:t>
              </a:r>
              <a:r>
                <a:rPr lang="en-US"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alignment</a:t>
              </a:r>
              <a:endParaRPr lang="en-US" sz="14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6" name="object 6"/>
            <p:cNvSpPr txBox="1">
              <a:spLocks/>
            </p:cNvSpPr>
            <p:nvPr/>
          </p:nvSpPr>
          <p:spPr>
            <a:xfrm>
              <a:off x="593446" y="852068"/>
              <a:ext cx="10814395" cy="230415"/>
            </a:xfrm>
            <a:prstGeom prst="rect">
              <a:avLst/>
            </a:prstGeom>
          </p:spPr>
          <p:txBody>
            <a:bodyPr vert="horz" wrap="square" lIns="0" tIns="14827" rIns="0" bIns="0" rtlCol="0">
              <a:spAutoFit/>
            </a:bodyPr>
            <a:lstStyle/>
            <a:p>
              <a:pPr marL="10983">
                <a:spcBef>
                  <a:spcPts val="117"/>
                </a:spcBef>
              </a:pPr>
              <a:r>
                <a:rPr lang="en-US" sz="1400" b="1" spc="4" dirty="0" smtClean="0">
                  <a:solidFill>
                    <a:schemeClr val="tx2"/>
                  </a:solidFill>
                  <a:latin typeface="+mn-lt"/>
                  <a:cs typeface="Georgia"/>
                </a:rPr>
                <a:t>Sufficient </a:t>
              </a:r>
              <a:r>
                <a:rPr sz="1400" b="1" spc="4" dirty="0" smtClean="0">
                  <a:solidFill>
                    <a:schemeClr val="tx2"/>
                  </a:solidFill>
                  <a:latin typeface="+mn-lt"/>
                  <a:cs typeface="Georgia"/>
                </a:rPr>
                <a:t>coverage </a:t>
              </a:r>
              <a:r>
                <a:rPr sz="1400" b="1" spc="9" dirty="0">
                  <a:solidFill>
                    <a:schemeClr val="tx2"/>
                  </a:solidFill>
                  <a:latin typeface="+mn-lt"/>
                  <a:cs typeface="Georgia"/>
                </a:rPr>
                <a:t>to </a:t>
              </a:r>
              <a:r>
                <a:rPr sz="1400" b="1" spc="4" dirty="0">
                  <a:solidFill>
                    <a:schemeClr val="tx2"/>
                  </a:solidFill>
                  <a:latin typeface="+mn-lt"/>
                  <a:cs typeface="Georgia"/>
                </a:rPr>
                <a:t>generate </a:t>
              </a:r>
              <a:r>
                <a:rPr sz="1400" b="1" spc="9" dirty="0">
                  <a:solidFill>
                    <a:schemeClr val="tx2"/>
                  </a:solidFill>
                  <a:latin typeface="+mn-lt"/>
                  <a:cs typeface="Georgia"/>
                </a:rPr>
                <a:t>and </a:t>
              </a:r>
              <a:r>
                <a:rPr sz="1400" b="1" spc="4" dirty="0">
                  <a:solidFill>
                    <a:schemeClr val="tx2"/>
                  </a:solidFill>
                  <a:latin typeface="+mn-lt"/>
                  <a:cs typeface="Georgia"/>
                </a:rPr>
                <a:t>support </a:t>
              </a:r>
              <a:r>
                <a:rPr sz="1400" b="1" spc="9" dirty="0">
                  <a:solidFill>
                    <a:schemeClr val="tx2"/>
                  </a:solidFill>
                  <a:latin typeface="+mn-lt"/>
                  <a:cs typeface="Georgia"/>
                </a:rPr>
                <a:t>3x </a:t>
              </a:r>
              <a:r>
                <a:rPr sz="1400" b="1" spc="4" dirty="0">
                  <a:solidFill>
                    <a:schemeClr val="tx2"/>
                  </a:solidFill>
                  <a:latin typeface="+mn-lt"/>
                  <a:cs typeface="Georgia"/>
                </a:rPr>
                <a:t>deal</a:t>
              </a:r>
              <a:r>
                <a:rPr sz="1400" b="1" spc="108" dirty="0">
                  <a:solidFill>
                    <a:schemeClr val="tx2"/>
                  </a:solidFill>
                  <a:latin typeface="+mn-lt"/>
                  <a:cs typeface="Georgia"/>
                </a:rPr>
                <a:t> </a:t>
              </a:r>
              <a:r>
                <a:rPr sz="1400" b="1" spc="9" dirty="0" smtClean="0">
                  <a:solidFill>
                    <a:schemeClr val="tx2"/>
                  </a:solidFill>
                  <a:latin typeface="+mn-lt"/>
                  <a:cs typeface="Georgia"/>
                </a:rPr>
                <a:t>growth</a:t>
              </a:r>
              <a:endParaRPr sz="1400" b="1" dirty="0">
                <a:solidFill>
                  <a:schemeClr val="tx2"/>
                </a:solidFill>
                <a:latin typeface="+mn-lt"/>
                <a:cs typeface="Georgia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00571" y="1529996"/>
              <a:ext cx="5365852" cy="30321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lIns="0" tIns="0" rIns="0" bIns="0" rtlCol="0"/>
            <a:lstStyle/>
            <a:p>
              <a:endParaRPr sz="1400" dirty="0">
                <a:latin typeface="+mn-lt"/>
              </a:endParaRPr>
            </a:p>
          </p:txBody>
        </p:sp>
        <p:sp>
          <p:nvSpPr>
            <p:cNvPr id="8" name="object 8"/>
            <p:cNvSpPr txBox="1">
              <a:spLocks/>
            </p:cNvSpPr>
            <p:nvPr/>
          </p:nvSpPr>
          <p:spPr>
            <a:xfrm>
              <a:off x="684301" y="4043609"/>
              <a:ext cx="10714186" cy="32524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txBody>
            <a:bodyPr vert="horz" wrap="square" lIns="0" tIns="72486" rIns="0" bIns="0" rtlCol="0">
              <a:noAutofit/>
            </a:bodyPr>
            <a:lstStyle/>
            <a:p>
              <a:pPr algn="ctr">
                <a:spcBef>
                  <a:spcPts val="571"/>
                </a:spcBef>
              </a:pPr>
              <a:r>
                <a:rPr sz="1400" spc="4" dirty="0">
                  <a:solidFill>
                    <a:srgbClr val="FFFFFF"/>
                  </a:solidFill>
                  <a:latin typeface="+mn-lt"/>
                  <a:cs typeface="Arial"/>
                </a:rPr>
                <a:t>Inbound</a:t>
              </a:r>
              <a:r>
                <a:rPr sz="1400" spc="-48" dirty="0">
                  <a:solidFill>
                    <a:srgbClr val="FFFFFF"/>
                  </a:solidFill>
                  <a:latin typeface="+mn-lt"/>
                  <a:cs typeface="Arial"/>
                </a:rPr>
                <a:t> </a:t>
              </a:r>
              <a:r>
                <a:rPr sz="1400" spc="9" dirty="0">
                  <a:solidFill>
                    <a:srgbClr val="FFFFFF"/>
                  </a:solidFill>
                  <a:latin typeface="+mn-lt"/>
                  <a:cs typeface="Arial"/>
                </a:rPr>
                <a:t>LDRs</a:t>
              </a:r>
              <a:endParaRPr sz="1400" dirty="0">
                <a:latin typeface="+mn-lt"/>
                <a:cs typeface="Arial"/>
              </a:endParaRPr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8059684" y="1971806"/>
              <a:ext cx="3328420" cy="53699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0" tIns="92256" rIns="0" bIns="0" rtlCol="0">
              <a:spAutoFit/>
            </a:bodyPr>
            <a:lstStyle/>
            <a:p>
              <a:pPr marL="910487" marR="904446" algn="ctr">
                <a:lnSpc>
                  <a:spcPct val="102600"/>
                </a:lnSpc>
                <a:spcBef>
                  <a:spcPts val="726"/>
                </a:spcBef>
              </a:pP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E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n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t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e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r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p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ri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s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e  </a:t>
              </a: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(</a:t>
              </a:r>
              <a:r>
                <a:rPr sz="1400" b="1" spc="4" dirty="0" smtClean="0">
                  <a:solidFill>
                    <a:schemeClr val="accent4"/>
                  </a:solidFill>
                  <a:latin typeface="+mn-lt"/>
                  <a:cs typeface="Arial"/>
                </a:rPr>
                <a:t>Non</a:t>
              </a:r>
              <a:r>
                <a:rPr lang="en-US" sz="1400" b="1" spc="4" dirty="0" smtClean="0">
                  <a:solidFill>
                    <a:schemeClr val="accent4"/>
                  </a:solidFill>
                  <a:latin typeface="+mn-lt"/>
                  <a:cs typeface="Arial"/>
                </a:rPr>
                <a:t> </a:t>
              </a:r>
              <a:r>
                <a:rPr sz="1400" b="1" spc="4" dirty="0" smtClean="0">
                  <a:solidFill>
                    <a:schemeClr val="accent4"/>
                  </a:solidFill>
                  <a:latin typeface="+mn-lt"/>
                  <a:cs typeface="Arial"/>
                </a:rPr>
                <a:t>Mfg</a:t>
              </a: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)</a:t>
              </a:r>
              <a:endParaRPr sz="14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0" name="object 10"/>
            <p:cNvSpPr txBox="1"/>
            <p:nvPr/>
          </p:nvSpPr>
          <p:spPr>
            <a:xfrm>
              <a:off x="6064413" y="1971806"/>
              <a:ext cx="1815637" cy="53699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0" tIns="92256" rIns="0" bIns="0" rtlCol="0">
              <a:spAutoFit/>
            </a:bodyPr>
            <a:lstStyle/>
            <a:p>
              <a:pPr marL="363536" marR="204831" indent="-157056">
                <a:lnSpc>
                  <a:spcPct val="102600"/>
                </a:lnSpc>
                <a:spcBef>
                  <a:spcPts val="726"/>
                </a:spcBef>
              </a:pPr>
              <a:r>
                <a:rPr sz="1400" b="1" spc="22" dirty="0">
                  <a:solidFill>
                    <a:schemeClr val="accent4"/>
                  </a:solidFill>
                  <a:latin typeface="+mn-lt"/>
                  <a:cs typeface="Arial"/>
                </a:rPr>
                <a:t>MM </a:t>
              </a: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Field</a:t>
              </a:r>
              <a:r>
                <a:rPr sz="1400" b="1" spc="-104" dirty="0">
                  <a:solidFill>
                    <a:schemeClr val="accent4"/>
                  </a:solidFill>
                  <a:latin typeface="+mn-lt"/>
                  <a:cs typeface="Arial"/>
                </a:rPr>
                <a:t> </a:t>
              </a: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Sales  (Non-Mfg)</a:t>
              </a:r>
              <a:endParaRPr sz="14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6064411" y="2768132"/>
              <a:ext cx="3643150" cy="684390"/>
            </a:xfrm>
            <a:custGeom>
              <a:avLst/>
              <a:gdLst/>
              <a:ahLst/>
              <a:cxnLst/>
              <a:rect l="l" t="t" r="r" b="b"/>
              <a:pathLst>
                <a:path w="3116579" h="585470">
                  <a:moveTo>
                    <a:pt x="0" y="0"/>
                  </a:moveTo>
                  <a:lnTo>
                    <a:pt x="0" y="585215"/>
                  </a:lnTo>
                  <a:lnTo>
                    <a:pt x="3116579" y="585215"/>
                  </a:lnTo>
                  <a:lnTo>
                    <a:pt x="31165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/>
            <a:lstStyle/>
            <a:p>
              <a:endParaRPr sz="1400" dirty="0">
                <a:latin typeface="+mn-lt"/>
              </a:endParaRPr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7058181" y="2883417"/>
              <a:ext cx="1655610" cy="453821"/>
            </a:xfrm>
            <a:prstGeom prst="rect">
              <a:avLst/>
            </a:prstGeom>
          </p:spPr>
          <p:txBody>
            <a:bodyPr vert="horz" wrap="square" lIns="0" tIns="9885" rIns="0" bIns="0" rtlCol="0">
              <a:spAutoFit/>
            </a:bodyPr>
            <a:lstStyle/>
            <a:p>
              <a:pPr marL="275123" marR="4393" indent="-275672">
                <a:lnSpc>
                  <a:spcPct val="102600"/>
                </a:lnSpc>
                <a:spcBef>
                  <a:spcPts val="78"/>
                </a:spcBef>
              </a:pPr>
              <a:r>
                <a:rPr sz="1400" b="1" spc="22" dirty="0">
                  <a:solidFill>
                    <a:schemeClr val="accent4"/>
                  </a:solidFill>
                  <a:latin typeface="+mn-lt"/>
                  <a:cs typeface="Arial"/>
                </a:rPr>
                <a:t>MM </a:t>
              </a:r>
              <a:r>
                <a:rPr sz="1400" b="1" spc="4" dirty="0" smtClean="0">
                  <a:solidFill>
                    <a:schemeClr val="accent4"/>
                  </a:solidFill>
                  <a:latin typeface="+mn-lt"/>
                  <a:cs typeface="Arial"/>
                </a:rPr>
                <a:t>Field</a:t>
              </a:r>
              <a:r>
                <a:rPr lang="en-US" sz="1400" b="1" spc="-104" dirty="0">
                  <a:solidFill>
                    <a:schemeClr val="accent4"/>
                  </a:solidFill>
                  <a:latin typeface="+mn-lt"/>
                  <a:cs typeface="Arial"/>
                </a:rPr>
                <a:t> </a:t>
              </a:r>
              <a:r>
                <a:rPr sz="1400" b="1" spc="4" dirty="0" smtClean="0">
                  <a:solidFill>
                    <a:schemeClr val="accent4"/>
                  </a:solidFill>
                  <a:latin typeface="+mn-lt"/>
                  <a:cs typeface="Arial"/>
                </a:rPr>
                <a:t>Sales  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(MFG)</a:t>
              </a:r>
              <a:endParaRPr sz="14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9730722" y="2762787"/>
              <a:ext cx="1656787" cy="684390"/>
            </a:xfrm>
            <a:custGeom>
              <a:avLst/>
              <a:gdLst/>
              <a:ahLst/>
              <a:cxnLst/>
              <a:rect l="l" t="t" r="r" b="b"/>
              <a:pathLst>
                <a:path w="1417320" h="585470">
                  <a:moveTo>
                    <a:pt x="0" y="0"/>
                  </a:moveTo>
                  <a:lnTo>
                    <a:pt x="0" y="585215"/>
                  </a:lnTo>
                  <a:lnTo>
                    <a:pt x="1417319" y="585215"/>
                  </a:lnTo>
                  <a:lnTo>
                    <a:pt x="14173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/>
            <a:lstStyle/>
            <a:p>
              <a:endParaRPr sz="1400" dirty="0">
                <a:latin typeface="+mn-lt"/>
              </a:endParaRPr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10092675" y="2878072"/>
              <a:ext cx="943858" cy="453821"/>
            </a:xfrm>
            <a:prstGeom prst="rect">
              <a:avLst/>
            </a:prstGeom>
          </p:spPr>
          <p:txBody>
            <a:bodyPr vert="horz" wrap="square" lIns="0" tIns="9885" rIns="0" bIns="0" rtlCol="0">
              <a:spAutoFit/>
            </a:bodyPr>
            <a:lstStyle/>
            <a:p>
              <a:pPr marL="132894" marR="4393" indent="-133443">
                <a:lnSpc>
                  <a:spcPct val="102600"/>
                </a:lnSpc>
                <a:spcBef>
                  <a:spcPts val="78"/>
                </a:spcBef>
              </a:pP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E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n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t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e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r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p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ri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s</a:t>
              </a: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e  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(MFG)</a:t>
              </a:r>
              <a:endParaRPr sz="14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5" name="object 15"/>
            <p:cNvSpPr>
              <a:spLocks/>
            </p:cNvSpPr>
            <p:nvPr/>
          </p:nvSpPr>
          <p:spPr>
            <a:xfrm>
              <a:off x="684301" y="1971806"/>
              <a:ext cx="1557321" cy="1494968"/>
            </a:xfrm>
            <a:custGeom>
              <a:avLst/>
              <a:gdLst/>
              <a:ahLst/>
              <a:cxnLst/>
              <a:rect l="l" t="t" r="r" b="b"/>
              <a:pathLst>
                <a:path w="1332230" h="1278889">
                  <a:moveTo>
                    <a:pt x="0" y="0"/>
                  </a:moveTo>
                  <a:lnTo>
                    <a:pt x="0" y="1278635"/>
                  </a:lnTo>
                  <a:lnTo>
                    <a:pt x="1331975" y="1278635"/>
                  </a:lnTo>
                  <a:lnTo>
                    <a:pt x="13319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400" dirty="0">
                <a:latin typeface="+mn-lt"/>
              </a:endParaRPr>
            </a:p>
          </p:txBody>
        </p:sp>
        <p:sp>
          <p:nvSpPr>
            <p:cNvPr id="16" name="object 16"/>
            <p:cNvSpPr txBox="1">
              <a:spLocks/>
            </p:cNvSpPr>
            <p:nvPr/>
          </p:nvSpPr>
          <p:spPr>
            <a:xfrm>
              <a:off x="2373161" y="1971806"/>
              <a:ext cx="3536261" cy="1494968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marL="807797">
                <a:spcBef>
                  <a:spcPts val="4"/>
                </a:spcBef>
              </a:pPr>
              <a:r>
                <a:rPr sz="1400" b="1" spc="13" dirty="0" smtClean="0">
                  <a:solidFill>
                    <a:schemeClr val="bg2"/>
                  </a:solidFill>
                  <a:latin typeface="+mn-lt"/>
                  <a:cs typeface="Arial"/>
                </a:rPr>
                <a:t>SMB </a:t>
              </a:r>
              <a:r>
                <a:rPr sz="1400" b="1" spc="4" dirty="0">
                  <a:solidFill>
                    <a:schemeClr val="bg2"/>
                  </a:solidFill>
                  <a:latin typeface="+mn-lt"/>
                  <a:cs typeface="Arial"/>
                </a:rPr>
                <a:t>Field</a:t>
              </a:r>
              <a:r>
                <a:rPr sz="1400" b="1" spc="-78" dirty="0">
                  <a:solidFill>
                    <a:schemeClr val="bg2"/>
                  </a:solidFill>
                  <a:latin typeface="+mn-lt"/>
                  <a:cs typeface="Arial"/>
                </a:rPr>
                <a:t> </a:t>
              </a:r>
              <a:r>
                <a:rPr sz="1400" b="1" spc="4" dirty="0">
                  <a:solidFill>
                    <a:schemeClr val="bg2"/>
                  </a:solidFill>
                  <a:latin typeface="+mn-lt"/>
                  <a:cs typeface="Arial"/>
                </a:rPr>
                <a:t>Sales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2373161" y="3547937"/>
              <a:ext cx="3536261" cy="32524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txBody>
            <a:bodyPr vert="horz" wrap="square" lIns="0" tIns="72486" rIns="0" bIns="0" rtlCol="0">
              <a:spAutoFit/>
            </a:bodyPr>
            <a:lstStyle/>
            <a:p>
              <a:pPr algn="ctr">
                <a:spcBef>
                  <a:spcPts val="571"/>
                </a:spcBef>
              </a:pPr>
              <a:r>
                <a:rPr sz="1400" spc="9" dirty="0">
                  <a:solidFill>
                    <a:srgbClr val="FFFFFF"/>
                  </a:solidFill>
                  <a:latin typeface="+mn-lt"/>
                  <a:cs typeface="Arial"/>
                </a:rPr>
                <a:t>BDR</a:t>
              </a:r>
              <a:endParaRPr sz="1400" dirty="0">
                <a:latin typeface="+mn-lt"/>
                <a:cs typeface="Arial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684301" y="3547937"/>
              <a:ext cx="1557321" cy="32524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txBody>
            <a:bodyPr vert="horz" wrap="square" lIns="0" tIns="72486" rIns="0" bIns="0" rtlCol="0">
              <a:spAutoFit/>
            </a:bodyPr>
            <a:lstStyle/>
            <a:p>
              <a:pPr marL="144426">
                <a:spcBef>
                  <a:spcPts val="571"/>
                </a:spcBef>
              </a:pPr>
              <a:r>
                <a:rPr sz="1400" spc="4" dirty="0">
                  <a:solidFill>
                    <a:srgbClr val="FFFFFF"/>
                  </a:solidFill>
                  <a:latin typeface="+mn-lt"/>
                  <a:cs typeface="Arial"/>
                </a:rPr>
                <a:t>Outbound</a:t>
              </a:r>
              <a:r>
                <a:rPr sz="1400" spc="-65" dirty="0">
                  <a:solidFill>
                    <a:srgbClr val="FFFFFF"/>
                  </a:solidFill>
                  <a:latin typeface="+mn-lt"/>
                  <a:cs typeface="Arial"/>
                </a:rPr>
                <a:t> </a:t>
              </a:r>
              <a:r>
                <a:rPr sz="1400" spc="9" dirty="0">
                  <a:solidFill>
                    <a:srgbClr val="FFFFFF"/>
                  </a:solidFill>
                  <a:latin typeface="+mn-lt"/>
                  <a:cs typeface="Arial"/>
                </a:rPr>
                <a:t>LDR</a:t>
              </a:r>
              <a:endParaRPr sz="1400" dirty="0">
                <a:latin typeface="+mn-lt"/>
                <a:cs typeface="Arial"/>
              </a:endParaRPr>
            </a:p>
          </p:txBody>
        </p:sp>
        <p:sp>
          <p:nvSpPr>
            <p:cNvPr id="19" name="object 19"/>
            <p:cNvSpPr txBox="1">
              <a:spLocks/>
            </p:cNvSpPr>
            <p:nvPr/>
          </p:nvSpPr>
          <p:spPr>
            <a:xfrm>
              <a:off x="6039472" y="3547937"/>
              <a:ext cx="5359321" cy="32524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txBody>
            <a:bodyPr vert="horz" wrap="square" lIns="0" tIns="72486" rIns="0" bIns="0" rtlCol="0">
              <a:noAutofit/>
            </a:bodyPr>
            <a:lstStyle/>
            <a:p>
              <a:pPr algn="ctr">
                <a:spcBef>
                  <a:spcPts val="571"/>
                </a:spcBef>
              </a:pPr>
              <a:r>
                <a:rPr sz="1400" spc="4" dirty="0">
                  <a:solidFill>
                    <a:srgbClr val="FFFFFF"/>
                  </a:solidFill>
                  <a:latin typeface="+mn-lt"/>
                  <a:cs typeface="Arial"/>
                </a:rPr>
                <a:t>Outbound</a:t>
              </a:r>
              <a:r>
                <a:rPr sz="1400" spc="-65" dirty="0">
                  <a:solidFill>
                    <a:srgbClr val="FFFFFF"/>
                  </a:solidFill>
                  <a:latin typeface="+mn-lt"/>
                  <a:cs typeface="Arial"/>
                </a:rPr>
                <a:t> </a:t>
              </a:r>
              <a:r>
                <a:rPr sz="1400" spc="9" dirty="0">
                  <a:solidFill>
                    <a:srgbClr val="FFFFFF"/>
                  </a:solidFill>
                  <a:latin typeface="+mn-lt"/>
                  <a:cs typeface="Arial"/>
                </a:rPr>
                <a:t>LDR</a:t>
              </a:r>
              <a:endParaRPr sz="1400" dirty="0">
                <a:latin typeface="+mn-lt"/>
                <a:cs typeface="Arial"/>
              </a:endParaRPr>
            </a:p>
          </p:txBody>
        </p:sp>
        <p:sp>
          <p:nvSpPr>
            <p:cNvPr id="20" name="object 20"/>
            <p:cNvSpPr txBox="1"/>
            <p:nvPr/>
          </p:nvSpPr>
          <p:spPr>
            <a:xfrm>
              <a:off x="669455" y="1632533"/>
              <a:ext cx="2769070" cy="229307"/>
            </a:xfrm>
            <a:prstGeom prst="rect">
              <a:avLst/>
            </a:prstGeom>
          </p:spPr>
          <p:txBody>
            <a:bodyPr vert="horz" wrap="square" lIns="0" tIns="13729" rIns="0" bIns="0" rtlCol="0">
              <a:spAutoFit/>
            </a:bodyPr>
            <a:lstStyle/>
            <a:p>
              <a:pPr marL="10983">
                <a:spcBef>
                  <a:spcPts val="108"/>
                </a:spcBef>
              </a:pPr>
              <a:r>
                <a:rPr sz="1400" b="1" dirty="0">
                  <a:solidFill>
                    <a:schemeClr val="accent4"/>
                  </a:solidFill>
                  <a:latin typeface="+mn-lt"/>
                  <a:cs typeface="Arial"/>
                </a:rPr>
                <a:t>IS </a:t>
              </a:r>
              <a:r>
                <a:rPr sz="1400" b="1" spc="9" dirty="0">
                  <a:solidFill>
                    <a:schemeClr val="accent4"/>
                  </a:solidFill>
                  <a:latin typeface="+mn-lt"/>
                  <a:cs typeface="Arial"/>
                </a:rPr>
                <a:t>up </a:t>
              </a: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to 600; Field</a:t>
              </a:r>
              <a:r>
                <a:rPr sz="1400" b="1" spc="-74" dirty="0">
                  <a:solidFill>
                    <a:schemeClr val="accent4"/>
                  </a:solidFill>
                  <a:latin typeface="+mn-lt"/>
                  <a:cs typeface="Arial"/>
                </a:rPr>
                <a:t> </a:t>
              </a:r>
              <a:r>
                <a:rPr sz="1400" b="1" spc="4" dirty="0">
                  <a:solidFill>
                    <a:schemeClr val="accent4"/>
                  </a:solidFill>
                  <a:latin typeface="+mn-lt"/>
                  <a:cs typeface="Arial"/>
                </a:rPr>
                <a:t>600-2500</a:t>
              </a:r>
              <a:endParaRPr sz="14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>
              <a:off x="947962" y="2078100"/>
              <a:ext cx="1022873" cy="229307"/>
            </a:xfrm>
            <a:prstGeom prst="rect">
              <a:avLst/>
            </a:prstGeom>
          </p:spPr>
          <p:txBody>
            <a:bodyPr vert="horz" wrap="square" lIns="0" tIns="13729" rIns="0" bIns="0" rtlCol="0">
              <a:spAutoFit/>
            </a:bodyPr>
            <a:lstStyle/>
            <a:p>
              <a:pPr>
                <a:spcBef>
                  <a:spcPts val="108"/>
                </a:spcBef>
              </a:pPr>
              <a:r>
                <a:rPr sz="1400" b="1" spc="4" dirty="0">
                  <a:solidFill>
                    <a:schemeClr val="bg2"/>
                  </a:solidFill>
                  <a:latin typeface="+mn-lt"/>
                  <a:cs typeface="Arial"/>
                </a:rPr>
                <a:t>Inside</a:t>
              </a:r>
              <a:r>
                <a:rPr sz="1400" b="1" spc="-78" dirty="0">
                  <a:solidFill>
                    <a:schemeClr val="bg2"/>
                  </a:solidFill>
                  <a:latin typeface="+mn-lt"/>
                  <a:cs typeface="Arial"/>
                </a:rPr>
                <a:t> </a:t>
              </a:r>
              <a:r>
                <a:rPr sz="1400" b="1" spc="4" dirty="0">
                  <a:solidFill>
                    <a:schemeClr val="bg2"/>
                  </a:solidFill>
                  <a:latin typeface="+mn-lt"/>
                  <a:cs typeface="Arial"/>
                </a:rPr>
                <a:t>Sales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789025" y="2469483"/>
              <a:ext cx="529723" cy="660194"/>
            </a:xfrm>
            <a:prstGeom prst="rect">
              <a:avLst/>
            </a:prstGeom>
          </p:spPr>
          <p:txBody>
            <a:bodyPr vert="horz" wrap="square" lIns="0" tIns="13729" rIns="0" bIns="0" rtlCol="0">
              <a:spAutoFit/>
            </a:bodyPr>
            <a:lstStyle/>
            <a:p>
              <a:pPr marR="3295" algn="ctr">
                <a:spcBef>
                  <a:spcPts val="108"/>
                </a:spcBef>
              </a:pPr>
              <a:r>
                <a:rPr sz="1400" b="1" dirty="0">
                  <a:solidFill>
                    <a:schemeClr val="bg2"/>
                  </a:solidFill>
                  <a:latin typeface="+mn-lt"/>
                  <a:cs typeface="Arial"/>
                </a:rPr>
                <a:t>IS</a:t>
              </a:r>
              <a:r>
                <a:rPr sz="1400" b="1" spc="-69" dirty="0">
                  <a:solidFill>
                    <a:schemeClr val="bg2"/>
                  </a:solidFill>
                  <a:latin typeface="+mn-lt"/>
                  <a:cs typeface="Arial"/>
                </a:rPr>
                <a:t> </a:t>
              </a:r>
              <a:r>
                <a:rPr sz="1400" b="1" dirty="0">
                  <a:solidFill>
                    <a:schemeClr val="bg2"/>
                  </a:solidFill>
                  <a:latin typeface="+mn-lt"/>
                  <a:cs typeface="Arial"/>
                </a:rPr>
                <a:t>I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  <a:p>
              <a:pPr marL="49972">
                <a:spcBef>
                  <a:spcPts val="30"/>
                </a:spcBef>
              </a:pPr>
              <a:r>
                <a:rPr sz="1400" spc="4" dirty="0">
                  <a:solidFill>
                    <a:schemeClr val="bg2"/>
                  </a:solidFill>
                  <a:latin typeface="+mn-lt"/>
                  <a:cs typeface="Arial"/>
                </a:rPr>
                <a:t>100-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  <a:p>
              <a:pPr marR="4393" algn="ctr">
                <a:spcBef>
                  <a:spcPts val="30"/>
                </a:spcBef>
              </a:pPr>
              <a:r>
                <a:rPr sz="1400" spc="9" dirty="0">
                  <a:solidFill>
                    <a:schemeClr val="bg2"/>
                  </a:solidFill>
                  <a:latin typeface="+mn-lt"/>
                  <a:cs typeface="Arial"/>
                </a:rPr>
                <a:t>300e</a:t>
              </a:r>
              <a:r>
                <a:rPr sz="1400" spc="4" dirty="0">
                  <a:solidFill>
                    <a:schemeClr val="bg2"/>
                  </a:solidFill>
                  <a:latin typeface="+mn-lt"/>
                  <a:cs typeface="Arial"/>
                </a:rPr>
                <a:t>e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1632056" y="2469483"/>
              <a:ext cx="504013" cy="660194"/>
            </a:xfrm>
            <a:prstGeom prst="rect">
              <a:avLst/>
            </a:prstGeom>
          </p:spPr>
          <p:txBody>
            <a:bodyPr vert="horz" wrap="square" lIns="0" tIns="13729" rIns="0" bIns="0" rtlCol="0">
              <a:spAutoFit/>
            </a:bodyPr>
            <a:lstStyle/>
            <a:p>
              <a:pPr marR="4393" algn="ctr">
                <a:spcBef>
                  <a:spcPts val="108"/>
                </a:spcBef>
              </a:pPr>
              <a:r>
                <a:rPr sz="1400" b="1" dirty="0">
                  <a:solidFill>
                    <a:schemeClr val="bg2"/>
                  </a:solidFill>
                  <a:latin typeface="+mn-lt"/>
                  <a:cs typeface="Arial"/>
                </a:rPr>
                <a:t>IS</a:t>
              </a:r>
              <a:r>
                <a:rPr sz="1400" b="1" spc="-65" dirty="0">
                  <a:solidFill>
                    <a:schemeClr val="bg2"/>
                  </a:solidFill>
                  <a:latin typeface="+mn-lt"/>
                  <a:cs typeface="Arial"/>
                </a:rPr>
                <a:t> </a:t>
              </a:r>
              <a:r>
                <a:rPr sz="1400" b="1" dirty="0">
                  <a:solidFill>
                    <a:schemeClr val="bg2"/>
                  </a:solidFill>
                  <a:latin typeface="+mn-lt"/>
                  <a:cs typeface="Arial"/>
                </a:rPr>
                <a:t>II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  <a:p>
              <a:pPr marL="49972">
                <a:spcBef>
                  <a:spcPts val="30"/>
                </a:spcBef>
              </a:pPr>
              <a:r>
                <a:rPr sz="1400" spc="4" dirty="0">
                  <a:solidFill>
                    <a:schemeClr val="bg2"/>
                  </a:solidFill>
                  <a:latin typeface="+mn-lt"/>
                  <a:cs typeface="Arial"/>
                </a:rPr>
                <a:t>301-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  <a:p>
              <a:pPr marR="4393" algn="ctr">
                <a:spcBef>
                  <a:spcPts val="30"/>
                </a:spcBef>
              </a:pPr>
              <a:r>
                <a:rPr sz="1400" spc="9" dirty="0">
                  <a:solidFill>
                    <a:schemeClr val="bg2"/>
                  </a:solidFill>
                  <a:latin typeface="+mn-lt"/>
                  <a:cs typeface="Arial"/>
                </a:rPr>
                <a:t>600e</a:t>
              </a:r>
              <a:r>
                <a:rPr sz="1400" spc="4" dirty="0">
                  <a:solidFill>
                    <a:schemeClr val="bg2"/>
                  </a:solidFill>
                  <a:latin typeface="+mn-lt"/>
                  <a:cs typeface="Arial"/>
                </a:rPr>
                <a:t>e</a:t>
              </a:r>
              <a:endParaRPr sz="1400" dirty="0">
                <a:solidFill>
                  <a:schemeClr val="bg2"/>
                </a:solidFill>
                <a:latin typeface="+mn-lt"/>
                <a:cs typeface="Arial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69455" y="4653971"/>
              <a:ext cx="10408364" cy="1442941"/>
            </a:xfrm>
            <a:prstGeom prst="rect">
              <a:avLst/>
            </a:prstGeom>
          </p:spPr>
          <p:txBody>
            <a:bodyPr vert="horz" wrap="square" lIns="0" tIns="47226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200"/>
                </a:spcBef>
              </a:pP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Differences vs. </a:t>
              </a:r>
              <a:r>
                <a:rPr lang="en-US" sz="1400" b="1" dirty="0" smtClean="0">
                  <a:solidFill>
                    <a:schemeClr val="accent4"/>
                  </a:solidFill>
                </a:rPr>
                <a:t>current</a:t>
              </a: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 state</a:t>
              </a:r>
              <a:endParaRPr lang="en-US" sz="1400" dirty="0" smtClean="0">
                <a:solidFill>
                  <a:schemeClr val="accent4"/>
                </a:solidFill>
                <a:cs typeface="Arial" panose="020B0604020202020204" pitchFamily="34" charset="0"/>
              </a:endParaRPr>
            </a:p>
            <a:p>
              <a:pPr lvl="1">
                <a:spcBef>
                  <a:spcPts val="200"/>
                </a:spcBef>
              </a:pP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SMB dedicated </a:t>
              </a:r>
              <a:r>
                <a:rPr lang="en-US" sz="1400" b="1" dirty="0" smtClean="0">
                  <a:solidFill>
                    <a:schemeClr val="accent4"/>
                  </a:solidFill>
                </a:rPr>
                <a:t>field sales </a:t>
              </a: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team </a:t>
              </a:r>
              <a:r>
                <a:rPr lang="en-US" sz="1400" dirty="0" smtClean="0">
                  <a:cs typeface="Arial" panose="020B0604020202020204" pitchFamily="34" charset="0"/>
                </a:rPr>
                <a:t>carved out to sell to medium-sized accounts</a:t>
              </a:r>
            </a:p>
            <a:p>
              <a:pPr lvl="1">
                <a:spcBef>
                  <a:spcPts val="200"/>
                </a:spcBef>
              </a:pP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Five distinct sales roles </a:t>
              </a:r>
              <a:r>
                <a:rPr lang="en-US" sz="1400" dirty="0" smtClean="0"/>
                <a:t>across the </a:t>
              </a:r>
              <a:r>
                <a:rPr lang="en-US" sz="1400" dirty="0" smtClean="0">
                  <a:cs typeface="Arial" panose="020B0604020202020204" pitchFamily="34" charset="0"/>
                </a:rPr>
                <a:t>entire organization, with clear activities &amp; hand-offs</a:t>
              </a:r>
            </a:p>
            <a:p>
              <a:pPr lvl="1">
                <a:spcBef>
                  <a:spcPts val="200"/>
                </a:spcBef>
              </a:pP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IS organization tiered </a:t>
              </a:r>
              <a:r>
                <a:rPr lang="en-US" sz="1400" dirty="0" smtClean="0"/>
                <a:t>based on </a:t>
              </a:r>
              <a:r>
                <a:rPr lang="en-US" sz="1400" dirty="0" smtClean="0">
                  <a:cs typeface="Arial" panose="020B0604020202020204" pitchFamily="34" charset="0"/>
                </a:rPr>
                <a:t>split of accounts, with tenure-driven ISR I and ISR II roles</a:t>
              </a:r>
            </a:p>
            <a:p>
              <a:pPr lvl="1">
                <a:spcBef>
                  <a:spcPts val="200"/>
                </a:spcBef>
              </a:pPr>
              <a:r>
                <a:rPr lang="en-US" sz="1400" b="1" dirty="0" smtClean="0">
                  <a:solidFill>
                    <a:schemeClr val="accent4"/>
                  </a:solidFill>
                  <a:cs typeface="Arial" panose="020B0604020202020204" pitchFamily="34" charset="0"/>
                </a:rPr>
                <a:t>Re-engineered Lead Development team </a:t>
              </a:r>
              <a:r>
                <a:rPr lang="en-US" sz="1400" dirty="0" smtClean="0"/>
                <a:t>segmented by </a:t>
              </a:r>
              <a:r>
                <a:rPr lang="en-US" sz="1400" dirty="0" smtClean="0">
                  <a:cs typeface="Arial" panose="020B0604020202020204" pitchFamily="34" charset="0"/>
                </a:rPr>
                <a:t>inbound/outbound, clearly assigned to Inside or Field sales, and brought to  best practice ratios</a:t>
              </a:r>
              <a:endParaRPr lang="en-US" sz="1400" dirty="0"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090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PREVIOUSNAME" val="C:\Users\Krishnakumar Thangar\Desktop\26-Nov-2018\1810-1110744\B series\BAS008_Using digital and omnichannel to drive 3x growth in SMB for  high performing fast growth SaaS player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02</Words>
  <Application>Microsoft Macintosh PowerPoint</Application>
  <PresentationFormat>Custom</PresentationFormat>
  <Paragraphs>21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4" baseType="lpstr">
      <vt:lpstr>Arial</vt:lpstr>
      <vt:lpstr>Georgia</vt:lpstr>
      <vt:lpstr>Times New Roman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Case example: Using digital and omnichannel to drive 3x growth in SMB for  high performing, fast growth SaaS player</vt:lpstr>
      <vt:lpstr>We used multiple sources of insight, including OSI</vt:lpstr>
      <vt:lpstr>OSI identified key buying factors, possible GTM models &amp; helped quantify  impact of potential changes in channel offerings for SMB</vt:lpstr>
      <vt:lpstr>Summary diagnostic findings</vt:lpstr>
      <vt:lpstr>Summary of recommendations</vt:lpstr>
      <vt:lpstr>SMB focus – Focus digital &amp;  traditional marketing on SMB to  further develop &amp; embed SMB  “DNA” in the organization</vt:lpstr>
      <vt:lpstr>Demand Gen &amp; Lead Management – Prioritizing changes to marketing  channels based on potential for incremental leads – Digital wins!</vt:lpstr>
      <vt:lpstr>Demand Gen &amp; Lead Management –Customized web journeys and product  packaging for SMBs</vt:lpstr>
      <vt:lpstr>GTM Model – We scaled up Inside Sales and Lead Development to ensur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8:39:13Z</dcterms:modified>
  <cp:category/>
  <cp:contentStatus/>
  <dc:language/>
  <cp:version/>
</cp:coreProperties>
</file>